
<file path=[Content_Types].xml><?xml version="1.0" encoding="utf-8"?>
<Types xmlns="http://schemas.openxmlformats.org/package/2006/content-types">
  <Default Extension="bin" ContentType="application/vnd.openxmlformats-officedocument.oleObject"/>
  <Default Extension="png" ContentType="image/pn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4.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6.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8.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9.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4038" r:id="rId1"/>
    <p:sldMasterId id="2147484061" r:id="rId2"/>
    <p:sldMasterId id="2147484126" r:id="rId3"/>
    <p:sldMasterId id="2147484141" r:id="rId4"/>
    <p:sldMasterId id="2147484252" r:id="rId5"/>
    <p:sldMasterId id="2147484264" r:id="rId6"/>
    <p:sldMasterId id="2147484276" r:id="rId7"/>
    <p:sldMasterId id="2147484326" r:id="rId8"/>
    <p:sldMasterId id="2147484397" r:id="rId9"/>
    <p:sldMasterId id="2147484426" r:id="rId10"/>
  </p:sldMasterIdLst>
  <p:notesMasterIdLst>
    <p:notesMasterId r:id="rId19"/>
  </p:notesMasterIdLst>
  <p:handoutMasterIdLst>
    <p:handoutMasterId r:id="rId20"/>
  </p:handoutMasterIdLst>
  <p:sldIdLst>
    <p:sldId id="1029" r:id="rId11"/>
    <p:sldId id="1041" r:id="rId12"/>
    <p:sldId id="1148" r:id="rId13"/>
    <p:sldId id="1147" r:id="rId14"/>
    <p:sldId id="1149" r:id="rId15"/>
    <p:sldId id="1151" r:id="rId16"/>
    <p:sldId id="1150" r:id="rId17"/>
    <p:sldId id="1146" r:id="rId18"/>
  </p:sldIdLst>
  <p:sldSz cx="12801600" cy="7772400"/>
  <p:notesSz cx="9296400" cy="7010400"/>
  <p:defaultTextStyle>
    <a:defPPr>
      <a:defRPr lang="en-US"/>
    </a:defPPr>
    <a:lvl1pPr algn="ctr" rtl="0" fontAlgn="base">
      <a:spcBef>
        <a:spcPct val="20000"/>
      </a:spcBef>
      <a:spcAft>
        <a:spcPct val="0"/>
      </a:spcAft>
      <a:defRPr sz="1200" b="1" kern="1200">
        <a:solidFill>
          <a:schemeClr val="tx1"/>
        </a:solidFill>
        <a:latin typeface="Arial" pitchFamily="34" charset="0"/>
        <a:ea typeface="+mn-ea"/>
        <a:cs typeface="Arial" pitchFamily="34" charset="0"/>
      </a:defRPr>
    </a:lvl1pPr>
    <a:lvl2pPr marL="507719" algn="ctr" rtl="0" fontAlgn="base">
      <a:spcBef>
        <a:spcPct val="20000"/>
      </a:spcBef>
      <a:spcAft>
        <a:spcPct val="0"/>
      </a:spcAft>
      <a:defRPr sz="1200" b="1" kern="1200">
        <a:solidFill>
          <a:schemeClr val="tx1"/>
        </a:solidFill>
        <a:latin typeface="Arial" pitchFamily="34" charset="0"/>
        <a:ea typeface="+mn-ea"/>
        <a:cs typeface="Arial" pitchFamily="34" charset="0"/>
      </a:defRPr>
    </a:lvl2pPr>
    <a:lvl3pPr marL="1015436" algn="ctr" rtl="0" fontAlgn="base">
      <a:spcBef>
        <a:spcPct val="20000"/>
      </a:spcBef>
      <a:spcAft>
        <a:spcPct val="0"/>
      </a:spcAft>
      <a:defRPr sz="1200" b="1" kern="1200">
        <a:solidFill>
          <a:schemeClr val="tx1"/>
        </a:solidFill>
        <a:latin typeface="Arial" pitchFamily="34" charset="0"/>
        <a:ea typeface="+mn-ea"/>
        <a:cs typeface="Arial" pitchFamily="34" charset="0"/>
      </a:defRPr>
    </a:lvl3pPr>
    <a:lvl4pPr marL="1523148" algn="ctr" rtl="0" fontAlgn="base">
      <a:spcBef>
        <a:spcPct val="20000"/>
      </a:spcBef>
      <a:spcAft>
        <a:spcPct val="0"/>
      </a:spcAft>
      <a:defRPr sz="1200" b="1" kern="1200">
        <a:solidFill>
          <a:schemeClr val="tx1"/>
        </a:solidFill>
        <a:latin typeface="Arial" pitchFamily="34" charset="0"/>
        <a:ea typeface="+mn-ea"/>
        <a:cs typeface="Arial" pitchFamily="34" charset="0"/>
      </a:defRPr>
    </a:lvl4pPr>
    <a:lvl5pPr marL="2030878" algn="ctr" rtl="0" fontAlgn="base">
      <a:spcBef>
        <a:spcPct val="20000"/>
      </a:spcBef>
      <a:spcAft>
        <a:spcPct val="0"/>
      </a:spcAft>
      <a:defRPr sz="1200" b="1" kern="1200">
        <a:solidFill>
          <a:schemeClr val="tx1"/>
        </a:solidFill>
        <a:latin typeface="Arial" pitchFamily="34" charset="0"/>
        <a:ea typeface="+mn-ea"/>
        <a:cs typeface="Arial" pitchFamily="34" charset="0"/>
      </a:defRPr>
    </a:lvl5pPr>
    <a:lvl6pPr marL="2538580" algn="l" defTabSz="1015436" rtl="0" eaLnBrk="1" latinLnBrk="0" hangingPunct="1">
      <a:defRPr sz="1200" b="1" kern="1200">
        <a:solidFill>
          <a:schemeClr val="tx1"/>
        </a:solidFill>
        <a:latin typeface="Arial" pitchFamily="34" charset="0"/>
        <a:ea typeface="+mn-ea"/>
        <a:cs typeface="Arial" pitchFamily="34" charset="0"/>
      </a:defRPr>
    </a:lvl6pPr>
    <a:lvl7pPr marL="3046303" algn="l" defTabSz="1015436" rtl="0" eaLnBrk="1" latinLnBrk="0" hangingPunct="1">
      <a:defRPr sz="1200" b="1" kern="1200">
        <a:solidFill>
          <a:schemeClr val="tx1"/>
        </a:solidFill>
        <a:latin typeface="Arial" pitchFamily="34" charset="0"/>
        <a:ea typeface="+mn-ea"/>
        <a:cs typeface="Arial" pitchFamily="34" charset="0"/>
      </a:defRPr>
    </a:lvl7pPr>
    <a:lvl8pPr marL="3554013" algn="l" defTabSz="1015436" rtl="0" eaLnBrk="1" latinLnBrk="0" hangingPunct="1">
      <a:defRPr sz="1200" b="1" kern="1200">
        <a:solidFill>
          <a:schemeClr val="tx1"/>
        </a:solidFill>
        <a:latin typeface="Arial" pitchFamily="34" charset="0"/>
        <a:ea typeface="+mn-ea"/>
        <a:cs typeface="Arial" pitchFamily="34" charset="0"/>
      </a:defRPr>
    </a:lvl8pPr>
    <a:lvl9pPr marL="4061736" algn="l" defTabSz="1015436" rtl="0" eaLnBrk="1" latinLnBrk="0" hangingPunct="1">
      <a:defRPr sz="1200" b="1"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833">
          <p15:clr>
            <a:srgbClr val="A4A3A4"/>
          </p15:clr>
        </p15:guide>
        <p15:guide id="2" orient="horz" pos="556">
          <p15:clr>
            <a:srgbClr val="A4A3A4"/>
          </p15:clr>
        </p15:guide>
        <p15:guide id="3" orient="horz" pos="179">
          <p15:clr>
            <a:srgbClr val="A4A3A4"/>
          </p15:clr>
        </p15:guide>
        <p15:guide id="4" orient="horz" pos="1114">
          <p15:clr>
            <a:srgbClr val="A4A3A4"/>
          </p15:clr>
        </p15:guide>
        <p15:guide id="5" orient="horz" pos="1008">
          <p15:clr>
            <a:srgbClr val="A4A3A4"/>
          </p15:clr>
        </p15:guide>
        <p15:guide id="6" orient="horz" pos="4604">
          <p15:clr>
            <a:srgbClr val="A4A3A4"/>
          </p15:clr>
        </p15:guide>
        <p15:guide id="7" orient="horz" pos="4488">
          <p15:clr>
            <a:srgbClr val="A4A3A4"/>
          </p15:clr>
        </p15:guide>
        <p15:guide id="8" orient="horz" pos="175">
          <p15:clr>
            <a:srgbClr val="A4A3A4"/>
          </p15:clr>
        </p15:guide>
        <p15:guide id="9" orient="horz" pos="314">
          <p15:clr>
            <a:srgbClr val="A4A3A4"/>
          </p15:clr>
        </p15:guide>
        <p15:guide id="10" pos="4035">
          <p15:clr>
            <a:srgbClr val="A4A3A4"/>
          </p15:clr>
        </p15:guide>
        <p15:guide id="11" pos="358">
          <p15:clr>
            <a:srgbClr val="A4A3A4"/>
          </p15:clr>
        </p15:guide>
        <p15:guide id="12" pos="7727">
          <p15:clr>
            <a:srgbClr val="A4A3A4"/>
          </p15:clr>
        </p15:guide>
        <p15:guide id="13" pos="4180">
          <p15:clr>
            <a:srgbClr val="A4A3A4"/>
          </p15:clr>
        </p15:guide>
        <p15:guide id="14" pos="3889">
          <p15:clr>
            <a:srgbClr val="A4A3A4"/>
          </p15:clr>
        </p15:guide>
        <p15:guide id="15" pos="517">
          <p15:clr>
            <a:srgbClr val="A4A3A4"/>
          </p15:clr>
        </p15:guide>
        <p15:guide id="16" pos="7554">
          <p15:clr>
            <a:srgbClr val="A4A3A4"/>
          </p15:clr>
        </p15:guide>
      </p15:sldGuideLst>
    </p:ext>
    <p:ext uri="{2D200454-40CA-4A62-9FC3-DE9A4176ACB9}">
      <p15:notesGuideLst xmlns:p15="http://schemas.microsoft.com/office/powerpoint/2012/main" xmlns="">
        <p15:guide id="1" orient="horz" pos="2208" userDrawn="1">
          <p15:clr>
            <a:srgbClr val="A4A3A4"/>
          </p15:clr>
        </p15:guide>
        <p15:guide id="2" pos="29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tammer, Jodi" initials="" lastIdx="79" clrIdx="0"/>
  <p:cmAuthor id="7" name="Tewary, Anurag" initials="AT" lastIdx="1" clrIdx="7"/>
  <p:cmAuthor id="1" name="Youngraven, Leah" initials="" lastIdx="20" clrIdx="1"/>
  <p:cmAuthor id="8" name="Drumwright, Josh" initials="JD" lastIdx="6" clrIdx="8"/>
  <p:cmAuthor id="2" name="Brittain, Dorothy" initials="" lastIdx="1" clrIdx="2"/>
  <p:cmAuthor id="9" name="Administrator" initials="A" lastIdx="3" clrIdx="9">
    <p:extLst>
      <p:ext uri="{19B8F6BF-5375-455C-9EA6-DF929625EA0E}">
        <p15:presenceInfo xmlns:p15="http://schemas.microsoft.com/office/powerpoint/2012/main" xmlns="" userId="Administrator" providerId="None"/>
      </p:ext>
    </p:extLst>
  </p:cmAuthor>
  <p:cmAuthor id="3" name="Currie, Myles" initials="" lastIdx="7" clrIdx="3"/>
  <p:cmAuthor id="10" name="Odumuboni, Funmilola (NG - Lagos)" initials="OF(-L" lastIdx="9" clrIdx="10">
    <p:extLst>
      <p:ext uri="{19B8F6BF-5375-455C-9EA6-DF929625EA0E}">
        <p15:presenceInfo xmlns:p15="http://schemas.microsoft.com/office/powerpoint/2012/main" xmlns="" userId="S-1-5-21-2094927150-201071529-617630493-331764" providerId="AD"/>
      </p:ext>
    </p:extLst>
  </p:cmAuthor>
  <p:cmAuthor id="4" name="Naik, Subodh (NYC)" initials="SN" lastIdx="1" clrIdx="4"/>
  <p:cmAuthor id="5" name="Conrad, John" initials="JC" lastIdx="1" clrIdx="5"/>
  <p:cmAuthor id="6" name="Mantha, Kiran" initials="KM" lastIdx="22"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892D"/>
    <a:srgbClr val="179B24"/>
    <a:srgbClr val="000000"/>
    <a:srgbClr val="92D400"/>
    <a:srgbClr val="33CCFF"/>
    <a:srgbClr val="575757"/>
    <a:srgbClr val="4C0000"/>
    <a:srgbClr val="740000"/>
    <a:srgbClr val="00A1DE"/>
    <a:srgbClr val="0027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12" autoAdjust="0"/>
    <p:restoredTop sz="89886" autoAdjust="0"/>
  </p:normalViewPr>
  <p:slideViewPr>
    <p:cSldViewPr snapToGrid="0" snapToObjects="1">
      <p:cViewPr varScale="1">
        <p:scale>
          <a:sx n="58" d="100"/>
          <a:sy n="58" d="100"/>
        </p:scale>
        <p:origin x="-1026" y="-84"/>
      </p:cViewPr>
      <p:guideLst>
        <p:guide orient="horz" pos="833"/>
        <p:guide orient="horz" pos="556"/>
        <p:guide orient="horz" pos="179"/>
        <p:guide orient="horz" pos="1114"/>
        <p:guide orient="horz" pos="1008"/>
        <p:guide orient="horz" pos="4604"/>
        <p:guide orient="horz" pos="4488"/>
        <p:guide orient="horz" pos="175"/>
        <p:guide orient="horz" pos="314"/>
        <p:guide pos="4035"/>
        <p:guide pos="358"/>
        <p:guide pos="7727"/>
        <p:guide pos="4180"/>
        <p:guide pos="3889"/>
        <p:guide pos="517"/>
        <p:guide pos="7554"/>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p:cViewPr varScale="1">
        <p:scale>
          <a:sx n="48" d="100"/>
          <a:sy n="48" d="100"/>
        </p:scale>
        <p:origin x="-2898" y="-96"/>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0"/>
            <a:ext cx="4030592" cy="349562"/>
          </a:xfrm>
          <a:prstGeom prst="rect">
            <a:avLst/>
          </a:prstGeom>
          <a:noFill/>
          <a:ln w="9525">
            <a:noFill/>
            <a:miter lim="800000"/>
            <a:headEnd/>
            <a:tailEnd/>
          </a:ln>
        </p:spPr>
        <p:txBody>
          <a:bodyPr vert="horz" wrap="square" lIns="74824" tIns="37411" rIns="74824" bIns="37411" numCol="1" anchor="t" anchorCtr="0" compatLnSpc="1">
            <a:prstTxWarp prst="textNoShape">
              <a:avLst/>
            </a:prstTxWarp>
          </a:bodyPr>
          <a:lstStyle>
            <a:lvl1pPr algn="l" defTabSz="748924">
              <a:spcBef>
                <a:spcPct val="0"/>
              </a:spcBef>
              <a:defRPr sz="900" b="0"/>
            </a:lvl1pPr>
          </a:lstStyle>
          <a:p>
            <a:endParaRPr lang="en-GB" dirty="0"/>
          </a:p>
        </p:txBody>
      </p:sp>
      <p:sp>
        <p:nvSpPr>
          <p:cNvPr id="5" name="Slide Number Placeholder 4"/>
          <p:cNvSpPr>
            <a:spLocks noGrp="1"/>
          </p:cNvSpPr>
          <p:nvPr>
            <p:ph type="sldNum" sz="quarter" idx="3"/>
          </p:nvPr>
        </p:nvSpPr>
        <p:spPr bwMode="auto">
          <a:xfrm>
            <a:off x="5265809" y="6659642"/>
            <a:ext cx="4028440" cy="349562"/>
          </a:xfrm>
          <a:prstGeom prst="rect">
            <a:avLst/>
          </a:prstGeom>
          <a:noFill/>
          <a:ln w="9525">
            <a:noFill/>
            <a:miter lim="800000"/>
            <a:headEnd/>
            <a:tailEnd/>
          </a:ln>
        </p:spPr>
        <p:txBody>
          <a:bodyPr vert="horz" wrap="square" lIns="74824" tIns="37411" rIns="74824" bIns="37411" numCol="1" anchor="b" anchorCtr="0" compatLnSpc="1">
            <a:prstTxWarp prst="textNoShape">
              <a:avLst/>
            </a:prstTxWarp>
          </a:bodyPr>
          <a:lstStyle>
            <a:lvl1pPr algn="r" defTabSz="748924">
              <a:spcBef>
                <a:spcPct val="0"/>
              </a:spcBef>
              <a:defRPr sz="900" b="0"/>
            </a:lvl1pPr>
          </a:lstStyle>
          <a:p>
            <a:fld id="{4A1FC2AB-82DE-43D4-878D-2B0CA2799EF2}" type="slidenum">
              <a:rPr lang="en-GB"/>
              <a:pPr/>
              <a:t>‹#›</a:t>
            </a:fld>
            <a:endParaRPr lang="en-GB" dirty="0"/>
          </a:p>
        </p:txBody>
      </p:sp>
      <p:sp>
        <p:nvSpPr>
          <p:cNvPr id="6" name="Footer Placeholder 5"/>
          <p:cNvSpPr>
            <a:spLocks noGrp="1"/>
          </p:cNvSpPr>
          <p:nvPr>
            <p:ph type="ftr" sz="quarter" idx="2"/>
          </p:nvPr>
        </p:nvSpPr>
        <p:spPr>
          <a:xfrm>
            <a:off x="1" y="6659186"/>
            <a:ext cx="4028844" cy="350056"/>
          </a:xfrm>
          <a:prstGeom prst="rect">
            <a:avLst/>
          </a:prstGeom>
        </p:spPr>
        <p:txBody>
          <a:bodyPr vert="horz" lIns="88139" tIns="44070" rIns="88139" bIns="44070" rtlCol="0" anchor="b"/>
          <a:lstStyle>
            <a:lvl1pPr algn="l">
              <a:defRPr sz="1200"/>
            </a:lvl1pPr>
          </a:lstStyle>
          <a:p>
            <a:endParaRPr lang="en-US" dirty="0"/>
          </a:p>
        </p:txBody>
      </p:sp>
      <p:sp>
        <p:nvSpPr>
          <p:cNvPr id="7" name="Date Placeholder 6"/>
          <p:cNvSpPr>
            <a:spLocks noGrp="1"/>
          </p:cNvSpPr>
          <p:nvPr>
            <p:ph type="dt" sz="quarter" idx="1"/>
          </p:nvPr>
        </p:nvSpPr>
        <p:spPr>
          <a:xfrm>
            <a:off x="5265539" y="1"/>
            <a:ext cx="4028844" cy="350056"/>
          </a:xfrm>
          <a:prstGeom prst="rect">
            <a:avLst/>
          </a:prstGeom>
        </p:spPr>
        <p:txBody>
          <a:bodyPr vert="horz" lIns="88139" tIns="44070" rIns="88139" bIns="44070" rtlCol="0"/>
          <a:lstStyle>
            <a:lvl1pPr algn="r">
              <a:defRPr sz="1200"/>
            </a:lvl1pPr>
          </a:lstStyle>
          <a:p>
            <a:fld id="{481613EE-F9AE-423D-841B-58B2ABAD82A9}" type="datetimeFigureOut">
              <a:rPr lang="en-US" smtClean="0"/>
              <a:t>9/20/2018</a:t>
            </a:fld>
            <a:endParaRPr lang="en-US" dirty="0"/>
          </a:p>
        </p:txBody>
      </p:sp>
    </p:spTree>
    <p:extLst>
      <p:ext uri="{BB962C8B-B14F-4D97-AF65-F5344CB8AC3E}">
        <p14:creationId xmlns:p14="http://schemas.microsoft.com/office/powerpoint/2010/main" val="38617761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3" y="0"/>
            <a:ext cx="4030592" cy="349562"/>
          </a:xfrm>
          <a:prstGeom prst="rect">
            <a:avLst/>
          </a:prstGeom>
          <a:noFill/>
          <a:ln w="9525">
            <a:noFill/>
            <a:miter lim="800000"/>
            <a:headEnd/>
            <a:tailEnd/>
          </a:ln>
        </p:spPr>
        <p:txBody>
          <a:bodyPr vert="horz" wrap="square" lIns="114076" tIns="57038" rIns="114076" bIns="57038" numCol="1" anchor="t" anchorCtr="0" compatLnSpc="1">
            <a:prstTxWarp prst="textNoShape">
              <a:avLst/>
            </a:prstTxWarp>
          </a:bodyPr>
          <a:lstStyle>
            <a:lvl1pPr algn="l" defTabSz="748924">
              <a:spcBef>
                <a:spcPct val="0"/>
              </a:spcBef>
              <a:defRPr sz="1400" b="0"/>
            </a:lvl1pPr>
          </a:lstStyle>
          <a:p>
            <a:endParaRPr lang="en-GB" dirty="0"/>
          </a:p>
        </p:txBody>
      </p:sp>
      <p:sp>
        <p:nvSpPr>
          <p:cNvPr id="3" name="Date Placeholder 2"/>
          <p:cNvSpPr>
            <a:spLocks noGrp="1"/>
          </p:cNvSpPr>
          <p:nvPr>
            <p:ph type="dt" idx="1"/>
          </p:nvPr>
        </p:nvSpPr>
        <p:spPr bwMode="auto">
          <a:xfrm>
            <a:off x="5265809" y="0"/>
            <a:ext cx="4028440" cy="349562"/>
          </a:xfrm>
          <a:prstGeom prst="rect">
            <a:avLst/>
          </a:prstGeom>
          <a:noFill/>
          <a:ln w="9525">
            <a:noFill/>
            <a:miter lim="800000"/>
            <a:headEnd/>
            <a:tailEnd/>
          </a:ln>
        </p:spPr>
        <p:txBody>
          <a:bodyPr vert="horz" wrap="square" lIns="114076" tIns="57038" rIns="114076" bIns="57038" numCol="1" anchor="t" anchorCtr="0" compatLnSpc="1">
            <a:prstTxWarp prst="textNoShape">
              <a:avLst/>
            </a:prstTxWarp>
          </a:bodyPr>
          <a:lstStyle>
            <a:lvl1pPr algn="r" defTabSz="748924">
              <a:spcBef>
                <a:spcPct val="0"/>
              </a:spcBef>
              <a:defRPr sz="1400" b="0"/>
            </a:lvl1pPr>
          </a:lstStyle>
          <a:p>
            <a:fld id="{48C56040-B352-4CF8-B5D5-F47EA68AB32D}" type="datetimeFigureOut">
              <a:rPr lang="en-US"/>
              <a:pPr/>
              <a:t>9/20/2018</a:t>
            </a:fld>
            <a:endParaRPr lang="en-GB" dirty="0"/>
          </a:p>
        </p:txBody>
      </p:sp>
      <p:sp>
        <p:nvSpPr>
          <p:cNvPr id="4" name="Slide Image Placeholder 3"/>
          <p:cNvSpPr>
            <a:spLocks noGrp="1" noRot="1" noChangeAspect="1"/>
          </p:cNvSpPr>
          <p:nvPr>
            <p:ph type="sldImg" idx="2"/>
          </p:nvPr>
        </p:nvSpPr>
        <p:spPr>
          <a:xfrm>
            <a:off x="2481263" y="527050"/>
            <a:ext cx="4333875" cy="2630488"/>
          </a:xfrm>
          <a:prstGeom prst="rect">
            <a:avLst/>
          </a:prstGeom>
          <a:noFill/>
          <a:ln w="12700">
            <a:solidFill>
              <a:prstClr val="black"/>
            </a:solidFill>
          </a:ln>
        </p:spPr>
        <p:txBody>
          <a:bodyPr vert="horz" lIns="164398" tIns="82200" rIns="164398" bIns="82200" rtlCol="0" anchor="ctr"/>
          <a:lstStyle/>
          <a:p>
            <a:pPr lvl="0"/>
            <a:endParaRPr lang="en-GB" noProof="0" dirty="0"/>
          </a:p>
        </p:txBody>
      </p:sp>
      <p:sp>
        <p:nvSpPr>
          <p:cNvPr id="5" name="Notes Placeholder 4"/>
          <p:cNvSpPr>
            <a:spLocks noGrp="1"/>
          </p:cNvSpPr>
          <p:nvPr>
            <p:ph type="body" sz="quarter" idx="3"/>
          </p:nvPr>
        </p:nvSpPr>
        <p:spPr bwMode="gray">
          <a:xfrm>
            <a:off x="927493" y="3330421"/>
            <a:ext cx="7441424" cy="1071062"/>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6" name="Footer Placeholder 5"/>
          <p:cNvSpPr>
            <a:spLocks noGrp="1"/>
          </p:cNvSpPr>
          <p:nvPr>
            <p:ph type="ftr" sz="quarter" idx="4"/>
          </p:nvPr>
        </p:nvSpPr>
        <p:spPr bwMode="auto">
          <a:xfrm>
            <a:off x="3" y="6659642"/>
            <a:ext cx="4030592" cy="349562"/>
          </a:xfrm>
          <a:prstGeom prst="rect">
            <a:avLst/>
          </a:prstGeom>
          <a:noFill/>
          <a:ln w="9525">
            <a:noFill/>
            <a:miter lim="800000"/>
            <a:headEnd/>
            <a:tailEnd/>
          </a:ln>
        </p:spPr>
        <p:txBody>
          <a:bodyPr vert="horz" wrap="square" lIns="114076" tIns="57038" rIns="114076" bIns="57038" numCol="1" anchor="b" anchorCtr="0" compatLnSpc="1">
            <a:prstTxWarp prst="textNoShape">
              <a:avLst/>
            </a:prstTxWarp>
          </a:bodyPr>
          <a:lstStyle>
            <a:lvl1pPr algn="l" defTabSz="748924">
              <a:spcBef>
                <a:spcPct val="0"/>
              </a:spcBef>
              <a:defRPr sz="1400" b="0"/>
            </a:lvl1pPr>
          </a:lstStyle>
          <a:p>
            <a:endParaRPr lang="en-GB" dirty="0"/>
          </a:p>
        </p:txBody>
      </p:sp>
      <p:sp>
        <p:nvSpPr>
          <p:cNvPr id="7" name="Slide Number Placeholder 6"/>
          <p:cNvSpPr>
            <a:spLocks noGrp="1"/>
          </p:cNvSpPr>
          <p:nvPr>
            <p:ph type="sldNum" sz="quarter" idx="5"/>
          </p:nvPr>
        </p:nvSpPr>
        <p:spPr bwMode="auto">
          <a:xfrm>
            <a:off x="5265809" y="6659642"/>
            <a:ext cx="4028440" cy="349562"/>
          </a:xfrm>
          <a:prstGeom prst="rect">
            <a:avLst/>
          </a:prstGeom>
          <a:noFill/>
          <a:ln w="9525">
            <a:noFill/>
            <a:miter lim="800000"/>
            <a:headEnd/>
            <a:tailEnd/>
          </a:ln>
        </p:spPr>
        <p:txBody>
          <a:bodyPr vert="horz" wrap="square" lIns="114076" tIns="57038" rIns="114076" bIns="57038" numCol="1" anchor="b" anchorCtr="0" compatLnSpc="1">
            <a:prstTxWarp prst="textNoShape">
              <a:avLst/>
            </a:prstTxWarp>
          </a:bodyPr>
          <a:lstStyle>
            <a:lvl1pPr algn="r" defTabSz="748924">
              <a:spcBef>
                <a:spcPct val="0"/>
              </a:spcBef>
              <a:defRPr sz="1400" b="0"/>
            </a:lvl1pPr>
          </a:lstStyle>
          <a:p>
            <a:fld id="{F6715F80-3722-40A8-A13B-913CAEEA0A98}" type="slidenum">
              <a:rPr lang="en-GB"/>
              <a:pPr/>
              <a:t>‹#›</a:t>
            </a:fld>
            <a:endParaRPr lang="en-GB" dirty="0"/>
          </a:p>
        </p:txBody>
      </p:sp>
    </p:spTree>
    <p:extLst>
      <p:ext uri="{BB962C8B-B14F-4D97-AF65-F5344CB8AC3E}">
        <p14:creationId xmlns:p14="http://schemas.microsoft.com/office/powerpoint/2010/main" val="380052260"/>
      </p:ext>
    </p:extLst>
  </p:cSld>
  <p:clrMap bg1="lt1" tx1="dk1" bg2="lt2" tx2="dk2" accent1="accent1" accent2="accent2" accent3="accent3" accent4="accent4" accent5="accent5" accent6="accent6" hlink="hlink" folHlink="folHlink"/>
  <p:notesStyle>
    <a:lvl1pPr algn="l" rtl="0" eaLnBrk="0" fontAlgn="base" hangingPunct="0">
      <a:spcBef>
        <a:spcPct val="100000"/>
      </a:spcBef>
      <a:spcAft>
        <a:spcPct val="0"/>
      </a:spcAft>
      <a:buFont typeface="Arial" pitchFamily="34" charset="0"/>
      <a:defRPr sz="1200" kern="1200">
        <a:solidFill>
          <a:schemeClr val="tx1"/>
        </a:solidFill>
        <a:latin typeface="Arial" pitchFamily="34" charset="0"/>
        <a:ea typeface="+mn-ea"/>
        <a:cs typeface="+mn-cs"/>
      </a:defRPr>
    </a:lvl1pPr>
    <a:lvl2pPr marL="126932" indent="-125167" algn="l" rtl="0" eaLnBrk="0" fontAlgn="base" hangingPunct="0">
      <a:spcBef>
        <a:spcPct val="20000"/>
      </a:spcBef>
      <a:spcAft>
        <a:spcPct val="0"/>
      </a:spcAft>
      <a:buChar char="•"/>
      <a:defRPr sz="1200" kern="1200">
        <a:solidFill>
          <a:schemeClr val="tx1"/>
        </a:solidFill>
        <a:latin typeface="Arial" pitchFamily="34" charset="0"/>
        <a:ea typeface="+mn-ea"/>
        <a:cs typeface="+mn-cs"/>
      </a:defRPr>
    </a:lvl2pPr>
    <a:lvl3pPr marL="252095" indent="-123408" algn="l" rtl="0" eaLnBrk="0" fontAlgn="base" hangingPunct="0">
      <a:spcBef>
        <a:spcPct val="20000"/>
      </a:spcBef>
      <a:spcAft>
        <a:spcPct val="0"/>
      </a:spcAft>
      <a:buFont typeface="Arial" pitchFamily="34" charset="0"/>
      <a:buChar char="–"/>
      <a:defRPr sz="1200" kern="1200">
        <a:solidFill>
          <a:schemeClr val="tx1"/>
        </a:solidFill>
        <a:latin typeface="Arial" pitchFamily="34" charset="0"/>
        <a:ea typeface="+mn-ea"/>
        <a:cs typeface="+mn-cs"/>
      </a:defRPr>
    </a:lvl3pPr>
    <a:lvl4pPr marL="379024" indent="-125167" algn="l" rtl="0" eaLnBrk="0" fontAlgn="base" hangingPunct="0">
      <a:spcBef>
        <a:spcPct val="20000"/>
      </a:spcBef>
      <a:spcAft>
        <a:spcPct val="0"/>
      </a:spcAft>
      <a:buChar char="•"/>
      <a:defRPr sz="1200" kern="1200">
        <a:solidFill>
          <a:schemeClr val="tx1"/>
        </a:solidFill>
        <a:latin typeface="Arial" pitchFamily="34" charset="0"/>
        <a:ea typeface="+mn-ea"/>
        <a:cs typeface="+mn-cs"/>
      </a:defRPr>
    </a:lvl4pPr>
    <a:lvl5pPr marL="504194" indent="-123408" algn="l" rtl="0" eaLnBrk="0" fontAlgn="base" hangingPunct="0">
      <a:spcBef>
        <a:spcPct val="20000"/>
      </a:spcBef>
      <a:spcAft>
        <a:spcPct val="0"/>
      </a:spcAft>
      <a:buFont typeface="Arial" pitchFamily="34" charset="0"/>
      <a:buChar char="–"/>
      <a:defRPr sz="1200" kern="1200">
        <a:solidFill>
          <a:schemeClr val="tx1"/>
        </a:solidFill>
        <a:latin typeface="Arial" pitchFamily="34" charset="0"/>
        <a:ea typeface="+mn-ea"/>
        <a:cs typeface="+mn-cs"/>
      </a:defRPr>
    </a:lvl5pPr>
    <a:lvl6pPr marL="2538580" algn="l" defTabSz="1015436" rtl="0" eaLnBrk="1" latinLnBrk="0" hangingPunct="1">
      <a:defRPr sz="1300" kern="1200">
        <a:solidFill>
          <a:schemeClr val="tx1"/>
        </a:solidFill>
        <a:latin typeface="+mn-lt"/>
        <a:ea typeface="+mn-ea"/>
        <a:cs typeface="+mn-cs"/>
      </a:defRPr>
    </a:lvl6pPr>
    <a:lvl7pPr marL="3046303" algn="l" defTabSz="1015436" rtl="0" eaLnBrk="1" latinLnBrk="0" hangingPunct="1">
      <a:defRPr sz="1300" kern="1200">
        <a:solidFill>
          <a:schemeClr val="tx1"/>
        </a:solidFill>
        <a:latin typeface="+mn-lt"/>
        <a:ea typeface="+mn-ea"/>
        <a:cs typeface="+mn-cs"/>
      </a:defRPr>
    </a:lvl7pPr>
    <a:lvl8pPr marL="3554013" algn="l" defTabSz="1015436" rtl="0" eaLnBrk="1" latinLnBrk="0" hangingPunct="1">
      <a:defRPr sz="1300" kern="1200">
        <a:solidFill>
          <a:schemeClr val="tx1"/>
        </a:solidFill>
        <a:latin typeface="+mn-lt"/>
        <a:ea typeface="+mn-ea"/>
        <a:cs typeface="+mn-cs"/>
      </a:defRPr>
    </a:lvl8pPr>
    <a:lvl9pPr marL="4061736" algn="l" defTabSz="1015436"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p:cNvSpPr>
            <a:spLocks noGrp="1" noRot="1" noChangeAspect="1" noTextEdit="1"/>
          </p:cNvSpPr>
          <p:nvPr>
            <p:ph type="sldImg"/>
          </p:nvPr>
        </p:nvSpPr>
        <p:spPr>
          <a:xfrm>
            <a:off x="2482850" y="527050"/>
            <a:ext cx="4330700" cy="2628900"/>
          </a:xfrm>
          <a:ln/>
        </p:spPr>
      </p:sp>
      <p:sp>
        <p:nvSpPr>
          <p:cNvPr id="7171" name="Notes Placeholder 2"/>
          <p:cNvSpPr>
            <a:spLocks noGrp="1"/>
          </p:cNvSpPr>
          <p:nvPr>
            <p:ph type="body" idx="1"/>
          </p:nvPr>
        </p:nvSpPr>
        <p:spPr>
          <a:xfrm>
            <a:off x="927493" y="3330421"/>
            <a:ext cx="7441424" cy="184666"/>
          </a:xfrm>
          <a:noFill/>
          <a:ln/>
        </p:spPr>
        <p:txBody>
          <a:bodyPr/>
          <a:lstStyle/>
          <a:p>
            <a:endParaRPr lang="en-AU" dirty="0" smtClean="0"/>
          </a:p>
        </p:txBody>
      </p:sp>
    </p:spTree>
    <p:extLst>
      <p:ext uri="{BB962C8B-B14F-4D97-AF65-F5344CB8AC3E}">
        <p14:creationId xmlns:p14="http://schemas.microsoft.com/office/powerpoint/2010/main" val="2345973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160" marR="330200" indent="-6350" algn="l">
              <a:lnSpc>
                <a:spcPct val="106000"/>
              </a:lnSpc>
              <a:spcBef>
                <a:spcPts val="0"/>
              </a:spcBef>
              <a:spcAft>
                <a:spcPts val="2705"/>
              </a:spcAft>
            </a:pPr>
            <a:r>
              <a:rPr lang="en-ZA" sz="1200" kern="1200" dirty="0" smtClean="0">
                <a:solidFill>
                  <a:schemeClr val="tx1"/>
                </a:solidFill>
                <a:effectLst/>
                <a:latin typeface="Arial" pitchFamily="34" charset="0"/>
                <a:ea typeface="+mn-ea"/>
                <a:cs typeface="+mn-cs"/>
              </a:rPr>
              <a:t>World Economic Forum Global Risks Perception Survey 2017–2018. states cyber risk as the most prominent</a:t>
            </a:r>
            <a:r>
              <a:rPr lang="en-ZA" sz="1200" kern="1200" baseline="0" dirty="0" smtClean="0">
                <a:solidFill>
                  <a:schemeClr val="tx1"/>
                </a:solidFill>
                <a:effectLst/>
                <a:latin typeface="Arial" pitchFamily="34" charset="0"/>
                <a:ea typeface="+mn-ea"/>
                <a:cs typeface="+mn-cs"/>
              </a:rPr>
              <a:t> risk only after extreme climatic events and natural disasters </a:t>
            </a:r>
            <a:endParaRPr lang="en-ZA" sz="1200"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10160" marR="330200" indent="-6350" algn="l">
              <a:lnSpc>
                <a:spcPct val="106000"/>
              </a:lnSpc>
              <a:spcBef>
                <a:spcPts val="0"/>
              </a:spcBef>
              <a:spcAft>
                <a:spcPts val="2705"/>
              </a:spcAft>
            </a:pPr>
            <a:endParaRPr lang="en-ZA" sz="1200"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10160" marR="330200" indent="-6350" algn="l">
              <a:lnSpc>
                <a:spcPct val="106000"/>
              </a:lnSpc>
              <a:spcBef>
                <a:spcPts val="0"/>
              </a:spcBef>
              <a:spcAft>
                <a:spcPts val="2705"/>
              </a:spcAft>
            </a:pPr>
            <a:endParaRPr lang="en-ZA" sz="1200"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10160" marR="330200" indent="-6350" algn="l">
              <a:lnSpc>
                <a:spcPct val="106000"/>
              </a:lnSpc>
              <a:spcBef>
                <a:spcPts val="0"/>
              </a:spcBef>
              <a:spcAft>
                <a:spcPts val="2705"/>
              </a:spcAft>
            </a:pPr>
            <a:r>
              <a:rPr lang="en-ZA" sz="12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Recent obligations U.S. Securities and Exchange Commission (SEC)  relating to cybersecurity risks and incidents “Registrants should address cybersecurity risks and cyber incidents in their Management’s Discussion and Analysis of Financial Condition and Results of Operations (MD&amp;A), Risk Factors, Description of Business, Legal Proceedings and Financial Statement Disclosures.” S</a:t>
            </a:r>
            <a:r>
              <a:rPr lang="en-ZA" sz="1200" i="1" dirty="0" smtClean="0">
                <a:solidFill>
                  <a:schemeClr val="bg1"/>
                </a:solidFill>
                <a:latin typeface="Verdana" panose="020B0604030504040204" pitchFamily="34" charset="0"/>
                <a:ea typeface="Verdana" panose="020B0604030504040204" pitchFamily="34" charset="0"/>
                <a:cs typeface="Verdana" panose="020B0604030504040204" pitchFamily="34" charset="0"/>
              </a:rPr>
              <a:t>EC Division of Corporate Finance Disclosure Guidance: Topic No. 2 - Cybersecurity</a:t>
            </a:r>
            <a:r>
              <a:rPr lang="en-ZA" sz="12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 </a:t>
            </a:r>
          </a:p>
          <a:p>
            <a:pPr marL="10160" marR="330200" indent="-6350" algn="l">
              <a:lnSpc>
                <a:spcPct val="106000"/>
              </a:lnSpc>
              <a:spcBef>
                <a:spcPts val="0"/>
              </a:spcBef>
              <a:spcAft>
                <a:spcPts val="2705"/>
              </a:spcAft>
            </a:pPr>
            <a:endParaRPr lang="en-US" sz="1200" dirty="0" smtClean="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p>
            <a:pPr marL="10160" marR="330200" lvl="0" indent="-6350" algn="l" defTabSz="914400" rtl="0" eaLnBrk="0" fontAlgn="base" latinLnBrk="0" hangingPunct="0">
              <a:lnSpc>
                <a:spcPct val="106000"/>
              </a:lnSpc>
              <a:spcBef>
                <a:spcPts val="0"/>
              </a:spcBef>
              <a:spcAft>
                <a:spcPts val="2705"/>
              </a:spcAft>
              <a:buClrTx/>
              <a:buSzTx/>
              <a:buFont typeface="Arial" pitchFamily="34" charset="0"/>
              <a:buNone/>
              <a:tabLst/>
              <a:defRPr/>
            </a:pPr>
            <a:r>
              <a:rPr lang="en-ZA" sz="1200" kern="1200" dirty="0" smtClean="0">
                <a:solidFill>
                  <a:schemeClr val="tx1"/>
                </a:solidFill>
                <a:effectLst/>
                <a:latin typeface="Arial" pitchFamily="34" charset="0"/>
                <a:ea typeface="+mn-ea"/>
                <a:cs typeface="+mn-cs"/>
              </a:rPr>
              <a:t>One of the foundational drivers behind the update and release of the </a:t>
            </a:r>
            <a:r>
              <a:rPr lang="en-ZA" sz="1200" b="1" kern="1200" dirty="0" smtClean="0">
                <a:solidFill>
                  <a:schemeClr val="tx1"/>
                </a:solidFill>
                <a:effectLst/>
                <a:latin typeface="Arial" pitchFamily="34" charset="0"/>
                <a:ea typeface="+mn-ea"/>
                <a:cs typeface="+mn-cs"/>
              </a:rPr>
              <a:t>2013 COSO Framework </a:t>
            </a:r>
            <a:r>
              <a:rPr lang="en-ZA" sz="1200" kern="1200" dirty="0" smtClean="0">
                <a:solidFill>
                  <a:schemeClr val="tx1"/>
                </a:solidFill>
                <a:effectLst/>
                <a:latin typeface="Arial" pitchFamily="34" charset="0"/>
                <a:ea typeface="+mn-ea"/>
                <a:cs typeface="+mn-cs"/>
              </a:rPr>
              <a:t>was the need to address how organizations </a:t>
            </a:r>
            <a:r>
              <a:rPr lang="en-ZA" sz="1200" b="1" kern="1200" dirty="0" smtClean="0">
                <a:solidFill>
                  <a:schemeClr val="tx1"/>
                </a:solidFill>
                <a:effectLst/>
                <a:latin typeface="Arial" pitchFamily="34" charset="0"/>
                <a:ea typeface="+mn-ea"/>
                <a:cs typeface="+mn-cs"/>
              </a:rPr>
              <a:t>use and rely on evolving technology </a:t>
            </a:r>
            <a:r>
              <a:rPr lang="en-ZA" sz="1200" kern="1200" dirty="0" smtClean="0">
                <a:solidFill>
                  <a:schemeClr val="tx1"/>
                </a:solidFill>
                <a:effectLst/>
                <a:latin typeface="Arial" pitchFamily="34" charset="0"/>
                <a:ea typeface="+mn-ea"/>
                <a:cs typeface="+mn-cs"/>
              </a:rPr>
              <a:t>for internal </a:t>
            </a:r>
            <a:r>
              <a:rPr lang="en-ZA" sz="1200" kern="1200" dirty="0" err="1" smtClean="0">
                <a:solidFill>
                  <a:schemeClr val="tx1"/>
                </a:solidFill>
                <a:effectLst/>
                <a:latin typeface="Arial" pitchFamily="34" charset="0"/>
                <a:ea typeface="+mn-ea"/>
                <a:cs typeface="+mn-cs"/>
              </a:rPr>
              <a:t>cotrol</a:t>
            </a:r>
            <a:r>
              <a:rPr lang="en-ZA" sz="1200" kern="1200" dirty="0" smtClean="0">
                <a:solidFill>
                  <a:schemeClr val="tx1"/>
                </a:solidFill>
                <a:effectLst/>
                <a:latin typeface="Arial" pitchFamily="34" charset="0"/>
                <a:ea typeface="+mn-ea"/>
                <a:cs typeface="+mn-cs"/>
              </a:rPr>
              <a:t> purposes </a:t>
            </a:r>
          </a:p>
          <a:p>
            <a:pPr marL="10160" marR="330200" indent="-6350" algn="l">
              <a:lnSpc>
                <a:spcPct val="106000"/>
              </a:lnSpc>
              <a:spcBef>
                <a:spcPts val="0"/>
              </a:spcBef>
              <a:spcAft>
                <a:spcPts val="2705"/>
              </a:spcAft>
            </a:pPr>
            <a:endParaRPr lang="en-US" sz="1200" dirty="0" smtClean="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p>
            <a:pPr marL="10160" marR="330200" indent="-6350" algn="l">
              <a:lnSpc>
                <a:spcPct val="106000"/>
              </a:lnSpc>
              <a:spcBef>
                <a:spcPts val="0"/>
              </a:spcBef>
              <a:spcAft>
                <a:spcPts val="2705"/>
              </a:spcAft>
            </a:pPr>
            <a:r>
              <a:rPr lang="en-US" sz="1050" dirty="0" smtClean="0">
                <a:solidFill>
                  <a:schemeClr val="bg1"/>
                </a:solidFill>
                <a:effectLst/>
                <a:latin typeface="Verdana" panose="020B0604030504040204" pitchFamily="34" charset="0"/>
                <a:ea typeface="Verdana" panose="020B0604030504040204" pitchFamily="34" charset="0"/>
                <a:cs typeface="Verdana" panose="020B0604030504040204" pitchFamily="34" charset="0"/>
              </a:rPr>
              <a:t>CBN IT</a:t>
            </a:r>
            <a:r>
              <a:rPr lang="en-US" sz="1050" baseline="0" dirty="0" smtClean="0">
                <a:solidFill>
                  <a:schemeClr val="bg1"/>
                </a:solidFill>
                <a:effectLst/>
                <a:latin typeface="Verdana" panose="020B0604030504040204" pitchFamily="34" charset="0"/>
                <a:ea typeface="Verdana" panose="020B0604030504040204" pitchFamily="34" charset="0"/>
                <a:cs typeface="Verdana" panose="020B0604030504040204" pitchFamily="34" charset="0"/>
              </a:rPr>
              <a:t> Standards Blue Print, CBN Cyber Security Framework, GDPR, Nigeria Cyber Security Law</a:t>
            </a:r>
          </a:p>
          <a:p>
            <a:pPr marL="10160" marR="330200" indent="-6350" algn="l">
              <a:lnSpc>
                <a:spcPct val="106000"/>
              </a:lnSpc>
              <a:spcBef>
                <a:spcPts val="0"/>
              </a:spcBef>
              <a:spcAft>
                <a:spcPts val="2705"/>
              </a:spcAft>
            </a:pPr>
            <a:endParaRPr lang="en-US" sz="1050" baseline="0" dirty="0" smtClean="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p>
            <a:pPr marL="10160" marR="330200" indent="-6350" algn="l">
              <a:lnSpc>
                <a:spcPct val="106000"/>
              </a:lnSpc>
              <a:spcBef>
                <a:spcPts val="0"/>
              </a:spcBef>
              <a:spcAft>
                <a:spcPts val="2705"/>
              </a:spcAft>
            </a:pPr>
            <a:endParaRPr lang="en-US" sz="1050" baseline="0" dirty="0" smtClean="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p>
            <a:pPr marL="289560" marR="830580" indent="-285750" algn="l">
              <a:lnSpc>
                <a:spcPct val="108000"/>
              </a:lnSpc>
              <a:spcBef>
                <a:spcPts val="0"/>
              </a:spcBef>
              <a:spcAft>
                <a:spcPts val="870"/>
              </a:spcAft>
              <a:buFont typeface="Wingdings" panose="05000000000000000000" pitchFamily="2" charset="2"/>
              <a:buChar char="Ø"/>
            </a:pPr>
            <a:r>
              <a:rPr lang="en-ZA" sz="1050" dirty="0" smtClean="0">
                <a:solidFill>
                  <a:schemeClr val="bg1"/>
                </a:solidFill>
                <a:latin typeface="Verdana" panose="020B0604030504040204" pitchFamily="34" charset="0"/>
                <a:ea typeface="Verdana" panose="020B0604030504040204" pitchFamily="34" charset="0"/>
                <a:cs typeface="Verdana" panose="020B0604030504040204" pitchFamily="34" charset="0"/>
              </a:rPr>
              <a:t>Technology becomes more pervasive </a:t>
            </a:r>
          </a:p>
          <a:p>
            <a:pPr marL="3810" marR="830580" lvl="0" indent="0" algn="l" defTabSz="914400" rtl="0" eaLnBrk="0" fontAlgn="base" latinLnBrk="0" hangingPunct="0">
              <a:lnSpc>
                <a:spcPct val="108000"/>
              </a:lnSpc>
              <a:spcBef>
                <a:spcPts val="0"/>
              </a:spcBef>
              <a:spcAft>
                <a:spcPts val="870"/>
              </a:spcAft>
              <a:buClrTx/>
              <a:buSzTx/>
              <a:buFont typeface="Wingdings" panose="05000000000000000000" pitchFamily="2" charset="2"/>
              <a:buNone/>
              <a:tabLst/>
              <a:defRPr/>
            </a:pPr>
            <a:r>
              <a:rPr lang="en-ZA" sz="1200" u="none" strike="noStrike" kern="1200" dirty="0" smtClean="0">
                <a:solidFill>
                  <a:schemeClr val="tx1"/>
                </a:solidFill>
                <a:effectLst/>
                <a:latin typeface="Arial" pitchFamily="34" charset="0"/>
                <a:ea typeface="+mn-ea"/>
                <a:cs typeface="+mn-cs"/>
              </a:rPr>
              <a:t>Internet, cloud, mobile, and social are mainstream platforms inherently oriented for sharing </a:t>
            </a:r>
          </a:p>
          <a:p>
            <a:pPr marL="3810" marR="830580" indent="0" algn="l">
              <a:lnSpc>
                <a:spcPct val="108000"/>
              </a:lnSpc>
              <a:spcBef>
                <a:spcPts val="0"/>
              </a:spcBef>
              <a:spcAft>
                <a:spcPts val="870"/>
              </a:spcAft>
              <a:buFont typeface="Wingdings" panose="05000000000000000000" pitchFamily="2" charset="2"/>
              <a:buNone/>
            </a:pPr>
            <a:r>
              <a:rPr lang="en-ZA" sz="1200" kern="1200" dirty="0" smtClean="0">
                <a:solidFill>
                  <a:schemeClr val="tx1"/>
                </a:solidFill>
                <a:effectLst/>
                <a:latin typeface="Arial" pitchFamily="34" charset="0"/>
                <a:ea typeface="+mn-ea"/>
                <a:cs typeface="+mn-cs"/>
              </a:rPr>
              <a:t>Employees want continuous, real-time access to  their information </a:t>
            </a:r>
            <a:endParaRPr lang="en-US" sz="1050"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289560" marR="830580" indent="-285750" algn="l">
              <a:lnSpc>
                <a:spcPct val="108000"/>
              </a:lnSpc>
              <a:spcBef>
                <a:spcPts val="0"/>
              </a:spcBef>
              <a:spcAft>
                <a:spcPts val="870"/>
              </a:spcAft>
              <a:buFont typeface="Wingdings" panose="05000000000000000000" pitchFamily="2" charset="2"/>
              <a:buChar char="Ø"/>
            </a:pPr>
            <a:r>
              <a:rPr lang="en-US" sz="1050" dirty="0" smtClean="0">
                <a:solidFill>
                  <a:schemeClr val="bg1"/>
                </a:solidFill>
                <a:latin typeface="Verdana" panose="020B0604030504040204" pitchFamily="34" charset="0"/>
                <a:ea typeface="Verdana" panose="020B0604030504040204" pitchFamily="34" charset="0"/>
                <a:cs typeface="Verdana" panose="020B0604030504040204" pitchFamily="34" charset="0"/>
              </a:rPr>
              <a:t>Changing business models</a:t>
            </a:r>
          </a:p>
          <a:p>
            <a:pPr marL="3810" marR="830580" lvl="0" indent="0" algn="l" defTabSz="914400" rtl="0" eaLnBrk="0" fontAlgn="base" latinLnBrk="0" hangingPunct="0">
              <a:lnSpc>
                <a:spcPct val="108000"/>
              </a:lnSpc>
              <a:spcBef>
                <a:spcPts val="0"/>
              </a:spcBef>
              <a:spcAft>
                <a:spcPts val="870"/>
              </a:spcAft>
              <a:buClrTx/>
              <a:buSzTx/>
              <a:buFont typeface="Wingdings" panose="05000000000000000000" pitchFamily="2" charset="2"/>
              <a:buNone/>
              <a:tabLst/>
              <a:defRPr/>
            </a:pPr>
            <a:r>
              <a:rPr lang="en-ZA" sz="1200" u="none" strike="noStrike" kern="1200" dirty="0" smtClean="0">
                <a:solidFill>
                  <a:schemeClr val="tx1"/>
                </a:solidFill>
                <a:effectLst/>
                <a:latin typeface="Arial" pitchFamily="34" charset="0"/>
                <a:ea typeface="+mn-ea"/>
                <a:cs typeface="+mn-cs"/>
              </a:rPr>
              <a:t>Service models have evolved—outsourcing, offshoring, contracting, and remote workforce </a:t>
            </a:r>
          </a:p>
          <a:p>
            <a:pPr marL="289560" marR="830580" indent="-285750" algn="l">
              <a:lnSpc>
                <a:spcPct val="108000"/>
              </a:lnSpc>
              <a:spcBef>
                <a:spcPts val="0"/>
              </a:spcBef>
              <a:spcAft>
                <a:spcPts val="870"/>
              </a:spcAft>
              <a:buFont typeface="Wingdings" panose="05000000000000000000" pitchFamily="2" charset="2"/>
              <a:buChar char="Ø"/>
            </a:pPr>
            <a:r>
              <a:rPr lang="en-US" sz="1050" dirty="0" smtClean="0">
                <a:solidFill>
                  <a:schemeClr val="bg1"/>
                </a:solidFill>
                <a:latin typeface="Verdana" panose="020B0604030504040204" pitchFamily="34" charset="0"/>
                <a:ea typeface="Verdana" panose="020B0604030504040204" pitchFamily="34" charset="0"/>
                <a:cs typeface="Verdana" panose="020B0604030504040204" pitchFamily="34" charset="0"/>
              </a:rPr>
              <a:t>More data to protect</a:t>
            </a:r>
          </a:p>
          <a:p>
            <a:pPr lvl="0" fontAlgn="base"/>
            <a:r>
              <a:rPr lang="en-ZA" sz="1200" u="none" strike="noStrike" kern="1200" dirty="0" smtClean="0">
                <a:solidFill>
                  <a:schemeClr val="tx1"/>
                </a:solidFill>
                <a:effectLst/>
                <a:latin typeface="Arial" pitchFamily="34" charset="0"/>
                <a:ea typeface="+mn-ea"/>
                <a:cs typeface="+mn-cs"/>
              </a:rPr>
              <a:t>Increased volume of customers’ personal, account, and credit card data, as well as employee’s personal identifiable information and also company trade secrets </a:t>
            </a:r>
          </a:p>
          <a:p>
            <a:pPr lvl="0" fontAlgn="base"/>
            <a:r>
              <a:rPr lang="en-ZA" sz="1200" u="none" strike="noStrike" kern="1200" dirty="0" smtClean="0">
                <a:solidFill>
                  <a:schemeClr val="tx1"/>
                </a:solidFill>
                <a:effectLst/>
                <a:latin typeface="Arial" pitchFamily="34" charset="0"/>
                <a:ea typeface="+mn-ea"/>
                <a:cs typeface="+mn-cs"/>
              </a:rPr>
              <a:t>The need to comply with privacy requirements across a wide array of jurisdictions </a:t>
            </a:r>
          </a:p>
          <a:p>
            <a:pPr marL="289560" marR="830580" indent="-285750" algn="l">
              <a:lnSpc>
                <a:spcPct val="108000"/>
              </a:lnSpc>
              <a:spcBef>
                <a:spcPts val="0"/>
              </a:spcBef>
              <a:spcAft>
                <a:spcPts val="870"/>
              </a:spcAft>
              <a:buFont typeface="Wingdings" panose="05000000000000000000" pitchFamily="2" charset="2"/>
              <a:buChar char="Ø"/>
            </a:pPr>
            <a:r>
              <a:rPr lang="en-US" sz="1050" dirty="0" smtClean="0">
                <a:solidFill>
                  <a:schemeClr val="bg1"/>
                </a:solidFill>
                <a:latin typeface="Verdana" panose="020B0604030504040204" pitchFamily="34" charset="0"/>
                <a:ea typeface="Verdana" panose="020B0604030504040204" pitchFamily="34" charset="0"/>
                <a:cs typeface="Verdana" panose="020B0604030504040204" pitchFamily="34" charset="0"/>
              </a:rPr>
              <a:t>Threat actors with varying motives</a:t>
            </a:r>
          </a:p>
          <a:p>
            <a:pPr lvl="0" fontAlgn="base"/>
            <a:r>
              <a:rPr lang="en-ZA" sz="1200" u="none" strike="noStrike" kern="1200" dirty="0" smtClean="0">
                <a:solidFill>
                  <a:schemeClr val="tx1"/>
                </a:solidFill>
                <a:effectLst/>
                <a:latin typeface="Arial" pitchFamily="34" charset="0"/>
                <a:ea typeface="+mn-ea"/>
                <a:cs typeface="+mn-cs"/>
              </a:rPr>
              <a:t>Hackers to nation states </a:t>
            </a:r>
          </a:p>
          <a:p>
            <a:pPr lvl="0" fontAlgn="base"/>
            <a:r>
              <a:rPr lang="en-ZA" sz="1200" u="none" strike="noStrike" kern="1200" dirty="0" smtClean="0">
                <a:solidFill>
                  <a:schemeClr val="tx1"/>
                </a:solidFill>
                <a:effectLst/>
                <a:latin typeface="Arial" pitchFamily="34" charset="0"/>
                <a:ea typeface="+mn-ea"/>
                <a:cs typeface="+mn-cs"/>
              </a:rPr>
              <a:t>Continuously innovating and subverting common controls  </a:t>
            </a:r>
          </a:p>
          <a:p>
            <a:r>
              <a:rPr lang="en-ZA" sz="1200" kern="1200" dirty="0" smtClean="0">
                <a:solidFill>
                  <a:schemeClr val="tx1"/>
                </a:solidFill>
                <a:effectLst/>
                <a:latin typeface="Arial" pitchFamily="34" charset="0"/>
                <a:ea typeface="+mn-ea"/>
                <a:cs typeface="+mn-cs"/>
              </a:rPr>
              <a:t>Often beyond the reach of a country’s law enforcement </a:t>
            </a:r>
          </a:p>
          <a:p>
            <a:endParaRPr lang="en-US" sz="1200" kern="1200" dirty="0" smtClean="0">
              <a:solidFill>
                <a:schemeClr val="tx1"/>
              </a:solidFill>
              <a:effectLst/>
              <a:latin typeface="Arial" pitchFamily="34" charset="0"/>
              <a:ea typeface="+mn-ea"/>
              <a:cs typeface="+mn-cs"/>
            </a:endParaRPr>
          </a:p>
          <a:p>
            <a:endParaRPr lang="en-US" sz="1200" kern="1200" dirty="0" smtClean="0">
              <a:solidFill>
                <a:schemeClr val="tx1"/>
              </a:solidFill>
              <a:effectLst/>
              <a:latin typeface="Arial" pitchFamily="34" charset="0"/>
              <a:ea typeface="+mn-ea"/>
              <a:cs typeface="+mn-cs"/>
            </a:endParaRPr>
          </a:p>
          <a:p>
            <a:pPr marL="342900" marR="7620" lvl="0" indent="-342900">
              <a:lnSpc>
                <a:spcPct val="103000"/>
              </a:lnSpc>
              <a:spcBef>
                <a:spcPts val="0"/>
              </a:spcBef>
              <a:spcAft>
                <a:spcPts val="620"/>
              </a:spcAft>
              <a:buClr>
                <a:srgbClr val="181717"/>
              </a:buClr>
              <a:buSzPts val="850"/>
              <a:buFont typeface="Arial" panose="020B0604020202020204" pitchFamily="34" charset="0"/>
              <a:buChar char="•"/>
            </a:pPr>
            <a:r>
              <a:rPr lang="en-ZA" sz="1050" dirty="0" smtClean="0">
                <a:solidFill>
                  <a:schemeClr val="bg1"/>
                </a:solidFill>
                <a:uFill>
                  <a:solidFill>
                    <a:srgbClr val="000000"/>
                  </a:solidFill>
                </a:uFill>
                <a:latin typeface="Open Sans" panose="020B0606030504020204" pitchFamily="34" charset="0"/>
                <a:ea typeface="Open Sans" panose="020B0606030504020204" pitchFamily="34" charset="0"/>
                <a:cs typeface="Open Sans" panose="020B0606030504020204" pitchFamily="34" charset="0"/>
              </a:rPr>
              <a:t>Organised crime is monetising the cyberspace, exploiting vulnerabilities in computer systems to compromise and remotely control computers, recording key strokes, monitoring screen displays and manipulating the computer user into divulging sensitive data.</a:t>
            </a:r>
          </a:p>
          <a:p>
            <a:pPr marL="342900" marR="7620" lvl="0" indent="-342900">
              <a:lnSpc>
                <a:spcPct val="106000"/>
              </a:lnSpc>
              <a:spcBef>
                <a:spcPts val="0"/>
              </a:spcBef>
              <a:spcAft>
                <a:spcPts val="600"/>
              </a:spcAft>
              <a:buClr>
                <a:srgbClr val="181717"/>
              </a:buClr>
              <a:buSzPts val="850"/>
              <a:buFont typeface="Arial" panose="020B0604020202020204" pitchFamily="34" charset="0"/>
              <a:buChar char="•"/>
            </a:pPr>
            <a:r>
              <a:rPr lang="en-ZA" sz="1050" dirty="0" smtClean="0">
                <a:solidFill>
                  <a:schemeClr val="bg1"/>
                </a:solidFill>
                <a:uFill>
                  <a:solidFill>
                    <a:srgbClr val="000000"/>
                  </a:solidFill>
                </a:uFill>
                <a:latin typeface="Open Sans" panose="020B0606030504020204" pitchFamily="34" charset="0"/>
                <a:ea typeface="Open Sans" panose="020B0606030504020204" pitchFamily="34" charset="0"/>
                <a:cs typeface="Open Sans" panose="020B0606030504020204" pitchFamily="34" charset="0"/>
              </a:rPr>
              <a:t>Cyberspace being borderless allows any attacker to route their assaults through multiple countries and jurisdictions, complicating investigation and law enforcement.</a:t>
            </a:r>
          </a:p>
          <a:p>
            <a:pPr marL="342900" marR="7620" lvl="0" indent="-342900">
              <a:lnSpc>
                <a:spcPct val="106000"/>
              </a:lnSpc>
              <a:spcBef>
                <a:spcPts val="0"/>
              </a:spcBef>
              <a:spcAft>
                <a:spcPts val="600"/>
              </a:spcAft>
              <a:buClr>
                <a:srgbClr val="181717"/>
              </a:buClr>
              <a:buSzPts val="850"/>
              <a:buFont typeface="Arial" panose="020B0604020202020204" pitchFamily="34" charset="0"/>
              <a:buChar char="•"/>
            </a:pPr>
            <a:r>
              <a:rPr lang="en-ZA" sz="1050" dirty="0" smtClean="0">
                <a:solidFill>
                  <a:schemeClr val="bg1"/>
                </a:solidFill>
                <a:uFill>
                  <a:solidFill>
                    <a:srgbClr val="000000"/>
                  </a:solidFill>
                </a:uFill>
                <a:latin typeface="Open Sans" panose="020B0606030504020204" pitchFamily="34" charset="0"/>
                <a:ea typeface="Open Sans" panose="020B0606030504020204" pitchFamily="34" charset="0"/>
                <a:cs typeface="Open Sans" panose="020B0606030504020204" pitchFamily="34" charset="0"/>
              </a:rPr>
              <a:t>Companies run the risk of losing substantial amounts of sensitive company information to malicious employees, who could also potentially remove it from company premises or introduce malicious software to corrupt company databases or sabotage network operations.</a:t>
            </a:r>
          </a:p>
          <a:p>
            <a:pPr marL="342900" marR="7620" lvl="0" indent="-342900">
              <a:lnSpc>
                <a:spcPct val="106000"/>
              </a:lnSpc>
              <a:spcBef>
                <a:spcPts val="0"/>
              </a:spcBef>
              <a:spcAft>
                <a:spcPts val="2980"/>
              </a:spcAft>
              <a:buClr>
                <a:srgbClr val="181717"/>
              </a:buClr>
              <a:buSzPts val="850"/>
              <a:buFont typeface="Arial" panose="020B0604020202020204" pitchFamily="34" charset="0"/>
              <a:buChar char="•"/>
            </a:pPr>
            <a:r>
              <a:rPr lang="en-ZA" sz="1050" dirty="0" smtClean="0">
                <a:solidFill>
                  <a:schemeClr val="bg1"/>
                </a:solidFill>
                <a:uFill>
                  <a:solidFill>
                    <a:srgbClr val="000000"/>
                  </a:solidFill>
                </a:uFill>
                <a:latin typeface="Open Sans" panose="020B0606030504020204" pitchFamily="34" charset="0"/>
                <a:ea typeface="Open Sans" panose="020B0606030504020204" pitchFamily="34" charset="0"/>
                <a:cs typeface="Open Sans" panose="020B0606030504020204" pitchFamily="34" charset="0"/>
              </a:rPr>
              <a:t>Corporate espionage by companies is commonplace in cyberspace. Attacks often target sensitive intellectual property and there have been multiple instances of major firms with its security compromised over many months and losing substantial amounts of sensitive data during these attacks.</a:t>
            </a:r>
          </a:p>
          <a:p>
            <a:pPr marL="342900" marR="7620" lvl="0" indent="-342900">
              <a:lnSpc>
                <a:spcPct val="106000"/>
              </a:lnSpc>
              <a:spcBef>
                <a:spcPts val="0"/>
              </a:spcBef>
              <a:spcAft>
                <a:spcPts val="835"/>
              </a:spcAft>
              <a:buClr>
                <a:srgbClr val="181717"/>
              </a:buClr>
              <a:buSzPts val="850"/>
              <a:buFont typeface="Arial" panose="020B0604020202020204" pitchFamily="34" charset="0"/>
              <a:buChar char="•"/>
            </a:pPr>
            <a:r>
              <a:rPr lang="en-ZA" sz="1050" dirty="0" smtClean="0">
                <a:solidFill>
                  <a:schemeClr val="bg1"/>
                </a:solidFill>
                <a:uFill>
                  <a:solidFill>
                    <a:srgbClr val="000000"/>
                  </a:solidFill>
                </a:uFill>
                <a:latin typeface="Open Sans" panose="020B0606030504020204" pitchFamily="34" charset="0"/>
                <a:ea typeface="Open Sans" panose="020B0606030504020204" pitchFamily="34" charset="0"/>
                <a:cs typeface="Open Sans" panose="020B0606030504020204" pitchFamily="34" charset="0"/>
              </a:rPr>
              <a:t>Activism is also prevalent in cyberspace with sabotage and denial of service attacks growing progressively frequent. In the past, they would be attributed to ‘hacktivist’ groups such as Anonymous; but increasingly attacks point to political motivations.</a:t>
            </a:r>
          </a:p>
          <a:p>
            <a:endParaRPr lang="en-ZA" sz="1050"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10160" marR="330200" indent="-6350" algn="l">
              <a:lnSpc>
                <a:spcPct val="106000"/>
              </a:lnSpc>
              <a:spcBef>
                <a:spcPts val="0"/>
              </a:spcBef>
              <a:spcAft>
                <a:spcPts val="2705"/>
              </a:spcAft>
            </a:pPr>
            <a:endParaRPr lang="en-ZA" sz="105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10"/>
          </p:nvPr>
        </p:nvSpPr>
        <p:spPr/>
        <p:txBody>
          <a:bodyPr/>
          <a:lstStyle/>
          <a:p>
            <a:fld id="{F6715F80-3722-40A8-A13B-913CAEEA0A98}" type="slidenum">
              <a:rPr lang="en-GB" smtClean="0"/>
              <a:pPr/>
              <a:t>1</a:t>
            </a:fld>
            <a:endParaRPr lang="en-GB" dirty="0"/>
          </a:p>
        </p:txBody>
      </p:sp>
    </p:spTree>
    <p:extLst>
      <p:ext uri="{BB962C8B-B14F-4D97-AF65-F5344CB8AC3E}">
        <p14:creationId xmlns:p14="http://schemas.microsoft.com/office/powerpoint/2010/main" val="517683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160" marR="330200" indent="-6350" algn="l">
              <a:lnSpc>
                <a:spcPct val="106000"/>
              </a:lnSpc>
              <a:spcBef>
                <a:spcPts val="0"/>
              </a:spcBef>
              <a:spcAft>
                <a:spcPts val="2705"/>
              </a:spcAft>
            </a:pPr>
            <a:endParaRPr lang="en-ZA" sz="105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10"/>
          </p:nvPr>
        </p:nvSpPr>
        <p:spPr/>
        <p:txBody>
          <a:bodyPr/>
          <a:lstStyle/>
          <a:p>
            <a:pPr marL="0" marR="0" lvl="0" indent="0" algn="r" defTabSz="748924" rtl="0" eaLnBrk="1" fontAlgn="base" latinLnBrk="0" hangingPunct="1">
              <a:lnSpc>
                <a:spcPct val="100000"/>
              </a:lnSpc>
              <a:spcBef>
                <a:spcPct val="0"/>
              </a:spcBef>
              <a:spcAft>
                <a:spcPct val="0"/>
              </a:spcAft>
              <a:buClrTx/>
              <a:buSzTx/>
              <a:buFontTx/>
              <a:buNone/>
              <a:tabLst/>
              <a:defRPr/>
            </a:pPr>
            <a:fld id="{F6715F80-3722-40A8-A13B-913CAEEA0A98}" type="slidenum">
              <a:rPr kumimoji="0" lang="en-GB" sz="14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748924" rtl="0" eaLnBrk="1" fontAlgn="base" latinLnBrk="0" hangingPunct="1">
                <a:lnSpc>
                  <a:spcPct val="100000"/>
                </a:lnSpc>
                <a:spcBef>
                  <a:spcPct val="0"/>
                </a:spcBef>
                <a:spcAft>
                  <a:spcPct val="0"/>
                </a:spcAft>
                <a:buClrTx/>
                <a:buSzTx/>
                <a:buFontTx/>
                <a:buNone/>
                <a:tabLst/>
                <a:defRPr/>
              </a:pPr>
              <a:t>2</a:t>
            </a:fld>
            <a:endParaRPr kumimoji="0" lang="en-GB" sz="14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2805909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160" marR="330200" indent="-6350" algn="l">
              <a:lnSpc>
                <a:spcPct val="106000"/>
              </a:lnSpc>
              <a:spcBef>
                <a:spcPts val="0"/>
              </a:spcBef>
              <a:spcAft>
                <a:spcPts val="2705"/>
              </a:spcAft>
            </a:pPr>
            <a:endParaRPr lang="en-ZA" sz="105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10"/>
          </p:nvPr>
        </p:nvSpPr>
        <p:spPr/>
        <p:txBody>
          <a:bodyPr/>
          <a:lstStyle/>
          <a:p>
            <a:pPr marL="0" marR="0" lvl="0" indent="0" algn="r" defTabSz="748924" rtl="0" eaLnBrk="1" fontAlgn="base" latinLnBrk="0" hangingPunct="1">
              <a:lnSpc>
                <a:spcPct val="100000"/>
              </a:lnSpc>
              <a:spcBef>
                <a:spcPct val="0"/>
              </a:spcBef>
              <a:spcAft>
                <a:spcPct val="0"/>
              </a:spcAft>
              <a:buClrTx/>
              <a:buSzTx/>
              <a:buFontTx/>
              <a:buNone/>
              <a:tabLst/>
              <a:defRPr/>
            </a:pPr>
            <a:fld id="{F6715F80-3722-40A8-A13B-913CAEEA0A98}" type="slidenum">
              <a:rPr kumimoji="0" lang="en-GB" sz="14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748924" rtl="0" eaLnBrk="1" fontAlgn="base" latinLnBrk="0" hangingPunct="1">
                <a:lnSpc>
                  <a:spcPct val="100000"/>
                </a:lnSpc>
                <a:spcBef>
                  <a:spcPct val="0"/>
                </a:spcBef>
                <a:spcAft>
                  <a:spcPct val="0"/>
                </a:spcAft>
                <a:buClrTx/>
                <a:buSzTx/>
                <a:buFontTx/>
                <a:buNone/>
                <a:tabLst/>
                <a:defRPr/>
              </a:pPr>
              <a:t>3</a:t>
            </a:fld>
            <a:endParaRPr kumimoji="0" lang="en-GB" sz="14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0455911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160" marR="330200" indent="-6350" algn="l">
              <a:lnSpc>
                <a:spcPct val="106000"/>
              </a:lnSpc>
              <a:spcBef>
                <a:spcPts val="0"/>
              </a:spcBef>
              <a:spcAft>
                <a:spcPts val="2705"/>
              </a:spcAft>
            </a:pPr>
            <a:endParaRPr lang="en-ZA" sz="105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10"/>
          </p:nvPr>
        </p:nvSpPr>
        <p:spPr/>
        <p:txBody>
          <a:bodyPr/>
          <a:lstStyle/>
          <a:p>
            <a:pPr marL="0" marR="0" lvl="0" indent="0" algn="r" defTabSz="748924" rtl="0" eaLnBrk="1" fontAlgn="base" latinLnBrk="0" hangingPunct="1">
              <a:lnSpc>
                <a:spcPct val="100000"/>
              </a:lnSpc>
              <a:spcBef>
                <a:spcPct val="0"/>
              </a:spcBef>
              <a:spcAft>
                <a:spcPct val="0"/>
              </a:spcAft>
              <a:buClrTx/>
              <a:buSzTx/>
              <a:buFontTx/>
              <a:buNone/>
              <a:tabLst/>
              <a:defRPr/>
            </a:pPr>
            <a:fld id="{F6715F80-3722-40A8-A13B-913CAEEA0A98}" type="slidenum">
              <a:rPr kumimoji="0" lang="en-GB" sz="14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748924" rtl="0" eaLnBrk="1" fontAlgn="base" latinLnBrk="0" hangingPunct="1">
                <a:lnSpc>
                  <a:spcPct val="100000"/>
                </a:lnSpc>
                <a:spcBef>
                  <a:spcPct val="0"/>
                </a:spcBef>
                <a:spcAft>
                  <a:spcPct val="0"/>
                </a:spcAft>
                <a:buClrTx/>
                <a:buSzTx/>
                <a:buFontTx/>
                <a:buNone/>
                <a:tabLst/>
                <a:defRPr/>
              </a:pPr>
              <a:t>4</a:t>
            </a:fld>
            <a:endParaRPr kumimoji="0" lang="en-GB" sz="14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5703826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160" marR="330200" indent="-6350" algn="l">
              <a:lnSpc>
                <a:spcPct val="106000"/>
              </a:lnSpc>
              <a:spcBef>
                <a:spcPts val="0"/>
              </a:spcBef>
              <a:spcAft>
                <a:spcPts val="2705"/>
              </a:spcAft>
            </a:pPr>
            <a:endParaRPr lang="en-ZA" sz="105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10"/>
          </p:nvPr>
        </p:nvSpPr>
        <p:spPr/>
        <p:txBody>
          <a:bodyPr/>
          <a:lstStyle/>
          <a:p>
            <a:pPr marL="0" marR="0" lvl="0" indent="0" algn="r" defTabSz="748924" rtl="0" eaLnBrk="1" fontAlgn="base" latinLnBrk="0" hangingPunct="1">
              <a:lnSpc>
                <a:spcPct val="100000"/>
              </a:lnSpc>
              <a:spcBef>
                <a:spcPct val="0"/>
              </a:spcBef>
              <a:spcAft>
                <a:spcPct val="0"/>
              </a:spcAft>
              <a:buClrTx/>
              <a:buSzTx/>
              <a:buFontTx/>
              <a:buNone/>
              <a:tabLst/>
              <a:defRPr/>
            </a:pPr>
            <a:fld id="{F6715F80-3722-40A8-A13B-913CAEEA0A98}" type="slidenum">
              <a:rPr kumimoji="0" lang="en-GB" sz="14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748924" rtl="0" eaLnBrk="1" fontAlgn="base" latinLnBrk="0" hangingPunct="1">
                <a:lnSpc>
                  <a:spcPct val="100000"/>
                </a:lnSpc>
                <a:spcBef>
                  <a:spcPct val="0"/>
                </a:spcBef>
                <a:spcAft>
                  <a:spcPct val="0"/>
                </a:spcAft>
                <a:buClrTx/>
                <a:buSzTx/>
                <a:buFontTx/>
                <a:buNone/>
                <a:tabLst/>
                <a:defRPr/>
              </a:pPr>
              <a:t>5</a:t>
            </a:fld>
            <a:endParaRPr kumimoji="0" lang="en-GB" sz="14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9181966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0160" marR="330200" indent="-6350" algn="l">
              <a:lnSpc>
                <a:spcPct val="106000"/>
              </a:lnSpc>
              <a:spcBef>
                <a:spcPts val="0"/>
              </a:spcBef>
              <a:spcAft>
                <a:spcPts val="2705"/>
              </a:spcAft>
            </a:pPr>
            <a:endParaRPr lang="en-ZA" sz="105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10"/>
          </p:nvPr>
        </p:nvSpPr>
        <p:spPr/>
        <p:txBody>
          <a:bodyPr/>
          <a:lstStyle/>
          <a:p>
            <a:pPr marL="0" marR="0" lvl="0" indent="0" algn="r" defTabSz="748924" rtl="0" eaLnBrk="1" fontAlgn="base" latinLnBrk="0" hangingPunct="1">
              <a:lnSpc>
                <a:spcPct val="100000"/>
              </a:lnSpc>
              <a:spcBef>
                <a:spcPct val="0"/>
              </a:spcBef>
              <a:spcAft>
                <a:spcPct val="0"/>
              </a:spcAft>
              <a:buClrTx/>
              <a:buSzTx/>
              <a:buFontTx/>
              <a:buNone/>
              <a:tabLst/>
              <a:defRPr/>
            </a:pPr>
            <a:fld id="{F6715F80-3722-40A8-A13B-913CAEEA0A98}" type="slidenum">
              <a:rPr kumimoji="0" lang="en-GB" sz="14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748924" rtl="0" eaLnBrk="1" fontAlgn="base" latinLnBrk="0" hangingPunct="1">
                <a:lnSpc>
                  <a:spcPct val="100000"/>
                </a:lnSpc>
                <a:spcBef>
                  <a:spcPct val="0"/>
                </a:spcBef>
                <a:spcAft>
                  <a:spcPct val="0"/>
                </a:spcAft>
                <a:buClrTx/>
                <a:buSzTx/>
                <a:buFontTx/>
                <a:buNone/>
                <a:tabLst/>
                <a:defRPr/>
              </a:pPr>
              <a:t>6</a:t>
            </a:fld>
            <a:endParaRPr kumimoji="0" lang="en-GB" sz="14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6949259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s>
</file>

<file path=ppt/slideLayouts/_rels/slideLayout5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oleObject" Target="../embeddings/oleObject1.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600202" y="3365911"/>
            <a:ext cx="5758498" cy="470898"/>
          </a:xfrm>
          <a:prstGeom prst="rect">
            <a:avLst/>
          </a:prstGeom>
        </p:spPr>
        <p:txBody>
          <a:bodyPr anchor="b" anchorCtr="0">
            <a:spAutoFit/>
          </a:bodyPr>
          <a:lstStyle>
            <a:lvl1pPr>
              <a:lnSpc>
                <a:spcPct val="85000"/>
              </a:lnSpc>
              <a:defRPr sz="3600" b="0" smtClean="0">
                <a:latin typeface="Calibri" pitchFamily="34" charset="0"/>
              </a:defRPr>
            </a:lvl1pPr>
          </a:lstStyle>
          <a:p>
            <a:r>
              <a:rPr lang="en-US" dirty="0" smtClean="0"/>
              <a:t>Click to edit Master title style</a:t>
            </a:r>
          </a:p>
        </p:txBody>
      </p:sp>
      <p:sp>
        <p:nvSpPr>
          <p:cNvPr id="120836" name="Text Placeholder 2"/>
          <p:cNvSpPr>
            <a:spLocks noGrp="1"/>
          </p:cNvSpPr>
          <p:nvPr>
            <p:ph type="subTitle" idx="1"/>
          </p:nvPr>
        </p:nvSpPr>
        <p:spPr bwMode="gray">
          <a:xfrm>
            <a:off x="1600202" y="4181276"/>
            <a:ext cx="5758498" cy="353943"/>
          </a:xfrm>
          <a:prstGeom prst="rect">
            <a:avLst/>
          </a:prstGeom>
        </p:spPr>
        <p:txBody>
          <a:bodyPr>
            <a:spAutoFit/>
          </a:bodyPr>
          <a:lstStyle>
            <a:lvl1pPr>
              <a:lnSpc>
                <a:spcPct val="100000"/>
              </a:lnSpc>
              <a:defRPr sz="2300" b="1" smtClean="0">
                <a:latin typeface="Calibri" pitchFamily="34" charset="0"/>
              </a:defRPr>
            </a:lvl1pPr>
          </a:lstStyle>
          <a:p>
            <a:r>
              <a:rPr lang="en-US" dirty="0" smtClean="0"/>
              <a:t>Click to edit Master subtitle style</a:t>
            </a:r>
            <a:endParaRPr dirty="0" smtClean="0"/>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566738" y="343642"/>
            <a:ext cx="2291397" cy="349038"/>
          </a:xfrm>
          <a:prstGeom prst="rect">
            <a:avLst/>
          </a:prstGeom>
          <a:noFill/>
        </p:spPr>
      </p:pic>
    </p:spTree>
    <p:extLst>
      <p:ext uri="{BB962C8B-B14F-4D97-AF65-F5344CB8AC3E}">
        <p14:creationId xmlns:p14="http://schemas.microsoft.com/office/powerpoint/2010/main" val="298064796"/>
      </p:ext>
    </p:extLst>
  </p:cSld>
  <p:clrMapOvr>
    <a:masterClrMapping/>
  </p:clrMapOvr>
  <p:transition/>
  <p:timing>
    <p:tnLst>
      <p:par>
        <p:cTn id="1" dur="indefinite" restart="never" nodeType="tmRoot"/>
      </p:par>
    </p:tnLst>
  </p:timing>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3947"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63394266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vider - light green">
    <p:spTree>
      <p:nvGrpSpPr>
        <p:cNvPr id="1" name=""/>
        <p:cNvGrpSpPr/>
        <p:nvPr/>
      </p:nvGrpSpPr>
      <p:grpSpPr>
        <a:xfrm>
          <a:off x="0" y="0"/>
          <a:ext cx="0" cy="0"/>
          <a:chOff x="0" y="0"/>
          <a:chExt cx="0" cy="0"/>
        </a:xfrm>
      </p:grpSpPr>
      <p:sp>
        <p:nvSpPr>
          <p:cNvPr id="3" name="Rectangle 2"/>
          <p:cNvSpPr/>
          <p:nvPr userDrawn="1"/>
        </p:nvSpPr>
        <p:spPr>
          <a:xfrm>
            <a:off x="0" y="0"/>
            <a:ext cx="12801600" cy="7772400"/>
          </a:xfrm>
          <a:prstGeom prst="rect">
            <a:avLst/>
          </a:prstGeom>
          <a:solidFill>
            <a:srgbClr val="C9DD03"/>
          </a:solidFill>
          <a:ln>
            <a:noFill/>
          </a:ln>
        </p:spPr>
        <p:style>
          <a:lnRef idx="2">
            <a:schemeClr val="accent1">
              <a:shade val="50000"/>
            </a:schemeClr>
          </a:lnRef>
          <a:fillRef idx="1">
            <a:schemeClr val="accent1"/>
          </a:fillRef>
          <a:effectRef idx="0">
            <a:schemeClr val="accent1"/>
          </a:effectRef>
          <a:fontRef idx="minor">
            <a:schemeClr val="lt1"/>
          </a:fontRef>
        </p:style>
        <p:txBody>
          <a:bodyPr lIns="117500" tIns="58750" rIns="117500" bIns="58750" anchor="ctr"/>
          <a:lstStyle/>
          <a:p>
            <a:pPr>
              <a:spcBef>
                <a:spcPct val="0"/>
              </a:spcBef>
              <a:defRPr/>
            </a:pPr>
            <a:endParaRPr lang="en-US" sz="1800" b="0" dirty="0">
              <a:solidFill>
                <a:srgbClr val="FFFFFF"/>
              </a:solidFill>
              <a:cs typeface="Arial" charset="0"/>
            </a:endParaRPr>
          </a:p>
        </p:txBody>
      </p:sp>
      <p:sp>
        <p:nvSpPr>
          <p:cNvPr id="12" name="Title 1"/>
          <p:cNvSpPr>
            <a:spLocks noGrp="1"/>
          </p:cNvSpPr>
          <p:nvPr>
            <p:ph type="ctrTitle"/>
          </p:nvPr>
        </p:nvSpPr>
        <p:spPr>
          <a:xfrm>
            <a:off x="502285" y="3058572"/>
            <a:ext cx="11793600" cy="667106"/>
          </a:xfrm>
        </p:spPr>
        <p:txBody>
          <a:bodyPr/>
          <a:lstStyle>
            <a:lvl1pPr algn="l">
              <a:lnSpc>
                <a:spcPct val="85000"/>
              </a:lnSpc>
              <a:defRPr sz="5100" b="0">
                <a:solidFill>
                  <a:schemeClr val="bg1"/>
                </a:solidFill>
                <a:latin typeface="+mj-lt"/>
                <a:cs typeface="Times New Roman" pitchFamily="18" charset="0"/>
              </a:defRPr>
            </a:lvl1pPr>
          </a:lstStyle>
          <a:p>
            <a:r>
              <a:rPr lang="en-US" noProof="0" smtClean="0"/>
              <a:t>Click to edit Master title style</a:t>
            </a:r>
            <a:endParaRPr lang="en-US" noProof="0" dirty="0"/>
          </a:p>
        </p:txBody>
      </p:sp>
      <p:sp>
        <p:nvSpPr>
          <p:cNvPr id="4" name="Footer Placeholder 4"/>
          <p:cNvSpPr>
            <a:spLocks noGrp="1"/>
          </p:cNvSpPr>
          <p:nvPr>
            <p:ph type="ftr" sz="quarter" idx="10"/>
          </p:nvPr>
        </p:nvSpPr>
        <p:spPr>
          <a:xfrm>
            <a:off x="1009015" y="7477343"/>
            <a:ext cx="5140643" cy="142135"/>
          </a:xfrm>
          <a:prstGeom prst="rect">
            <a:avLst/>
          </a:prstGeom>
        </p:spPr>
        <p:txBody>
          <a:bodyPr lIns="91430" tIns="45714" rIns="91430" bIns="45714"/>
          <a:lstStyle>
            <a:lvl1pPr algn="l">
              <a:defRPr sz="1300">
                <a:solidFill>
                  <a:srgbClr val="C9DD03"/>
                </a:solidFill>
              </a:defRPr>
            </a:lvl1pPr>
          </a:lstStyle>
          <a:p>
            <a:pPr>
              <a:defRPr/>
            </a:pPr>
            <a:r>
              <a:rPr lang="en-US" dirty="0"/>
              <a:t>Presentation title</a:t>
            </a:r>
          </a:p>
        </p:txBody>
      </p:sp>
      <p:sp>
        <p:nvSpPr>
          <p:cNvPr id="5" name="Slide Number Placeholder 5"/>
          <p:cNvSpPr>
            <a:spLocks noGrp="1"/>
          </p:cNvSpPr>
          <p:nvPr>
            <p:ph type="sldNum" sz="quarter" idx="11"/>
          </p:nvPr>
        </p:nvSpPr>
        <p:spPr>
          <a:xfrm>
            <a:off x="502287" y="7477343"/>
            <a:ext cx="504508" cy="142135"/>
          </a:xfrm>
          <a:prstGeom prst="rect">
            <a:avLst/>
          </a:prstGeom>
        </p:spPr>
        <p:txBody>
          <a:bodyPr lIns="91430" tIns="45714" rIns="91430" bIns="45714"/>
          <a:lstStyle>
            <a:lvl1pPr>
              <a:defRPr>
                <a:solidFill>
                  <a:srgbClr val="C9DD03"/>
                </a:solidFill>
              </a:defRPr>
            </a:lvl1pPr>
          </a:lstStyle>
          <a:p>
            <a:pPr>
              <a:defRPr/>
            </a:pPr>
            <a:fld id="{CB4C8DC9-7F63-405D-BCFE-2D9416DEE8BC}" type="slidenum">
              <a:rPr lang="en-US"/>
              <a:pPr>
                <a:defRPr/>
              </a:pPr>
              <a:t>‹#›</a:t>
            </a:fld>
            <a:endParaRPr lang="en-US" dirty="0"/>
          </a:p>
        </p:txBody>
      </p:sp>
    </p:spTree>
    <p:extLst>
      <p:ext uri="{BB962C8B-B14F-4D97-AF65-F5344CB8AC3E}">
        <p14:creationId xmlns:p14="http://schemas.microsoft.com/office/powerpoint/2010/main" val="137516322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End slide">
    <p:spTree>
      <p:nvGrpSpPr>
        <p:cNvPr id="1" name=""/>
        <p:cNvGrpSpPr/>
        <p:nvPr/>
      </p:nvGrpSpPr>
      <p:grpSpPr>
        <a:xfrm>
          <a:off x="0" y="0"/>
          <a:ext cx="0" cy="0"/>
          <a:chOff x="0" y="0"/>
          <a:chExt cx="0" cy="0"/>
        </a:xfrm>
      </p:grpSpPr>
      <p:sp>
        <p:nvSpPr>
          <p:cNvPr id="2" name="Rectangle 1"/>
          <p:cNvSpPr/>
          <p:nvPr userDrawn="1"/>
        </p:nvSpPr>
        <p:spPr>
          <a:xfrm>
            <a:off x="0" y="0"/>
            <a:ext cx="128016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17500" tIns="58750" rIns="117500" bIns="58750" anchor="ctr"/>
          <a:lstStyle/>
          <a:p>
            <a:pPr>
              <a:spcBef>
                <a:spcPct val="0"/>
              </a:spcBef>
              <a:defRPr/>
            </a:pPr>
            <a:endParaRPr lang="en-US" sz="1800" b="0" dirty="0">
              <a:solidFill>
                <a:srgbClr val="FFFFFF"/>
              </a:solidFill>
              <a:cs typeface="Arial" charset="0"/>
            </a:endParaRPr>
          </a:p>
        </p:txBody>
      </p:sp>
      <p:pic>
        <p:nvPicPr>
          <p:cNvPr id="3" name="Picture 4" descr="DEL_COL"/>
          <p:cNvPicPr preferRelativeResize="0">
            <a:picLocks noChangeAspect="1" noChangeArrowheads="1"/>
          </p:cNvPicPr>
          <p:nvPr userDrawn="1"/>
        </p:nvPicPr>
        <p:blipFill>
          <a:blip r:embed="rId2"/>
          <a:srcRect/>
          <a:stretch>
            <a:fillRect/>
          </a:stretch>
        </p:blipFill>
        <p:spPr bwMode="auto">
          <a:xfrm>
            <a:off x="457835" y="3526367"/>
            <a:ext cx="4400550" cy="712470"/>
          </a:xfrm>
          <a:prstGeom prst="rect">
            <a:avLst/>
          </a:prstGeom>
          <a:noFill/>
          <a:ln w="12700">
            <a:noFill/>
            <a:miter lim="800000"/>
            <a:headEnd/>
            <a:tailEnd/>
          </a:ln>
        </p:spPr>
      </p:pic>
      <p:sp>
        <p:nvSpPr>
          <p:cNvPr id="4" name="Footer Placeholder 4"/>
          <p:cNvSpPr>
            <a:spLocks noGrp="1"/>
          </p:cNvSpPr>
          <p:nvPr>
            <p:ph type="ftr" sz="quarter" idx="10"/>
          </p:nvPr>
        </p:nvSpPr>
        <p:spPr>
          <a:xfrm>
            <a:off x="1009015" y="7477343"/>
            <a:ext cx="5140643" cy="142135"/>
          </a:xfrm>
          <a:prstGeom prst="rect">
            <a:avLst/>
          </a:prstGeom>
        </p:spPr>
        <p:txBody>
          <a:bodyPr lIns="91430" tIns="45714" rIns="91430" bIns="45714"/>
          <a:lstStyle>
            <a:lvl1pPr algn="l">
              <a:defRPr sz="1300">
                <a:solidFill>
                  <a:srgbClr val="FFFFFF"/>
                </a:solidFill>
              </a:defRPr>
            </a:lvl1pPr>
          </a:lstStyle>
          <a:p>
            <a:pPr>
              <a:defRPr/>
            </a:pPr>
            <a:r>
              <a:rPr lang="en-US" dirty="0"/>
              <a:t>Presentation title</a:t>
            </a:r>
          </a:p>
        </p:txBody>
      </p:sp>
      <p:sp>
        <p:nvSpPr>
          <p:cNvPr id="5" name="Slide Number Placeholder 5"/>
          <p:cNvSpPr>
            <a:spLocks noGrp="1"/>
          </p:cNvSpPr>
          <p:nvPr>
            <p:ph type="sldNum" sz="quarter" idx="11"/>
          </p:nvPr>
        </p:nvSpPr>
        <p:spPr>
          <a:xfrm>
            <a:off x="502287" y="7477343"/>
            <a:ext cx="504508" cy="142135"/>
          </a:xfrm>
          <a:prstGeom prst="rect">
            <a:avLst/>
          </a:prstGeom>
        </p:spPr>
        <p:txBody>
          <a:bodyPr lIns="91430" tIns="45714" rIns="91430" bIns="45714"/>
          <a:lstStyle>
            <a:lvl1pPr>
              <a:defRPr>
                <a:solidFill>
                  <a:srgbClr val="FFFFFF"/>
                </a:solidFill>
              </a:defRPr>
            </a:lvl1pPr>
          </a:lstStyle>
          <a:p>
            <a:pPr>
              <a:defRPr/>
            </a:pPr>
            <a:fld id="{1C46D7FD-9960-4DA3-9E49-D060B4FDA345}" type="slidenum">
              <a:rPr lang="en-US"/>
              <a:pPr>
                <a:defRPr/>
              </a:pPr>
              <a:t>‹#›</a:t>
            </a:fld>
            <a:endParaRPr lang="en-US" dirty="0"/>
          </a:p>
        </p:txBody>
      </p:sp>
    </p:spTree>
    <p:extLst>
      <p:ext uri="{BB962C8B-B14F-4D97-AF65-F5344CB8AC3E}">
        <p14:creationId xmlns:p14="http://schemas.microsoft.com/office/powerpoint/2010/main" val="320644653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One column with title and subtitle">
    <p:spTree>
      <p:nvGrpSpPr>
        <p:cNvPr id="1" name=""/>
        <p:cNvGrpSpPr/>
        <p:nvPr/>
      </p:nvGrpSpPr>
      <p:grpSpPr>
        <a:xfrm>
          <a:off x="0" y="0"/>
          <a:ext cx="0" cy="0"/>
          <a:chOff x="0" y="0"/>
          <a:chExt cx="0" cy="0"/>
        </a:xfrm>
      </p:grpSpPr>
      <p:sp>
        <p:nvSpPr>
          <p:cNvPr id="7" name="Subtitle0"/>
          <p:cNvSpPr>
            <a:spLocks noGrp="1"/>
          </p:cNvSpPr>
          <p:nvPr>
            <p:ph type="body" idx="13"/>
          </p:nvPr>
        </p:nvSpPr>
        <p:spPr>
          <a:xfrm>
            <a:off x="502285" y="867201"/>
            <a:ext cx="11793600" cy="400110"/>
          </a:xfrm>
          <a:prstGeom prst="rect">
            <a:avLst/>
          </a:prstGeom>
        </p:spPr>
        <p:txBody>
          <a:bodyPr rtlCol="0">
            <a:spAutoFit/>
          </a:bodyPr>
          <a:lstStyle>
            <a:lvl1pPr marL="0" indent="0" algn="l" defTabSz="1174991" rtl="0" eaLnBrk="1" latinLnBrk="0" hangingPunct="1">
              <a:spcBef>
                <a:spcPct val="0"/>
              </a:spcBef>
              <a:buNone/>
              <a:defRPr lang="en-US" sz="2600" b="0" kern="1200" dirty="0" smtClean="0">
                <a:solidFill>
                  <a:schemeClr val="tx2"/>
                </a:solidFill>
                <a:latin typeface="+mn-lt"/>
                <a:ea typeface="+mj-ea"/>
                <a:cs typeface="+mj-cs"/>
              </a:defRPr>
            </a:lvl1pPr>
            <a:lvl2pPr marL="587494" indent="0">
              <a:buNone/>
              <a:defRPr sz="2600" b="1"/>
            </a:lvl2pPr>
            <a:lvl3pPr marL="1174991" indent="0">
              <a:buNone/>
              <a:defRPr sz="2300" b="1"/>
            </a:lvl3pPr>
            <a:lvl4pPr marL="1762488" indent="0">
              <a:buNone/>
              <a:defRPr sz="2100" b="1"/>
            </a:lvl4pPr>
            <a:lvl5pPr marL="2349983" indent="0">
              <a:buNone/>
              <a:defRPr sz="2100" b="1"/>
            </a:lvl5pPr>
            <a:lvl6pPr marL="2937477" indent="0">
              <a:buNone/>
              <a:defRPr sz="2100" b="1"/>
            </a:lvl6pPr>
            <a:lvl7pPr marL="3524973" indent="0">
              <a:buNone/>
              <a:defRPr sz="2100" b="1"/>
            </a:lvl7pPr>
            <a:lvl8pPr marL="4112468" indent="0">
              <a:buNone/>
              <a:defRPr sz="2100" b="1"/>
            </a:lvl8pPr>
            <a:lvl9pPr marL="4699965" indent="0">
              <a:buNone/>
              <a:defRPr sz="2100" b="1"/>
            </a:lvl9pPr>
          </a:lstStyle>
          <a:p>
            <a:pPr lvl="0"/>
            <a:r>
              <a:rPr lang="en-US" noProof="0" smtClean="0"/>
              <a:t>Click to edit Master text styles</a:t>
            </a:r>
          </a:p>
        </p:txBody>
      </p:sp>
      <p:sp>
        <p:nvSpPr>
          <p:cNvPr id="36" name="Content Placeholder 2"/>
          <p:cNvSpPr>
            <a:spLocks noGrp="1"/>
          </p:cNvSpPr>
          <p:nvPr>
            <p:ph idx="14"/>
          </p:nvPr>
        </p:nvSpPr>
        <p:spPr>
          <a:xfrm>
            <a:off x="505715" y="1437539"/>
            <a:ext cx="11793600" cy="1933863"/>
          </a:xfrm>
          <a:prstGeom prst="rect">
            <a:avLst/>
          </a:prstGeom>
        </p:spPr>
        <p:txBody>
          <a:bodyPr/>
          <a:lstStyle>
            <a:lvl1pPr>
              <a:spcBef>
                <a:spcPts val="1286"/>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Slide Number Placeholder 5"/>
          <p:cNvSpPr>
            <a:spLocks noGrp="1"/>
          </p:cNvSpPr>
          <p:nvPr>
            <p:ph type="sldNum" sz="quarter" idx="15"/>
          </p:nvPr>
        </p:nvSpPr>
        <p:spPr>
          <a:xfrm>
            <a:off x="502287" y="7477343"/>
            <a:ext cx="504508" cy="142135"/>
          </a:xfrm>
          <a:prstGeom prst="rect">
            <a:avLst/>
          </a:prstGeom>
        </p:spPr>
        <p:txBody>
          <a:bodyPr lIns="91430" tIns="45714" rIns="91430" bIns="45714"/>
          <a:lstStyle>
            <a:lvl1pPr>
              <a:defRPr/>
            </a:lvl1pPr>
          </a:lstStyle>
          <a:p>
            <a:pPr>
              <a:defRPr/>
            </a:pPr>
            <a:fld id="{FC33E0EA-D7A7-4DD6-A294-5705B18BAF49}" type="slidenum">
              <a:rPr lang="en-US">
                <a:solidFill>
                  <a:srgbClr val="002776"/>
                </a:solidFill>
              </a:rPr>
              <a:pPr>
                <a:defRPr/>
              </a:pPr>
              <a:t>‹#›</a:t>
            </a:fld>
            <a:endParaRPr lang="en-US" dirty="0">
              <a:solidFill>
                <a:srgbClr val="002776"/>
              </a:solidFill>
            </a:endParaRPr>
          </a:p>
        </p:txBody>
      </p:sp>
      <p:sp>
        <p:nvSpPr>
          <p:cNvPr id="6" name="Footer Placeholder 2"/>
          <p:cNvSpPr>
            <a:spLocks noGrp="1"/>
          </p:cNvSpPr>
          <p:nvPr>
            <p:ph type="ftr" sz="quarter" idx="16"/>
          </p:nvPr>
        </p:nvSpPr>
        <p:spPr>
          <a:xfrm>
            <a:off x="1011238" y="7477337"/>
            <a:ext cx="4053840" cy="151130"/>
          </a:xfrm>
          <a:prstGeom prst="rect">
            <a:avLst/>
          </a:prstGeom>
        </p:spPr>
        <p:txBody>
          <a:bodyPr lIns="91430" tIns="45714" rIns="91430" bIns="45714"/>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2319545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20835" name="Title Placeholder 1"/>
          <p:cNvSpPr>
            <a:spLocks noGrp="1"/>
          </p:cNvSpPr>
          <p:nvPr>
            <p:ph type="ctrTitle"/>
          </p:nvPr>
        </p:nvSpPr>
        <p:spPr>
          <a:xfrm>
            <a:off x="1600017" y="3271170"/>
            <a:ext cx="5595776" cy="1900652"/>
          </a:xfrm>
        </p:spPr>
        <p:txBody>
          <a:bodyPr/>
          <a:lstStyle>
            <a:lvl1pPr>
              <a:lnSpc>
                <a:spcPts val="3214"/>
              </a:lnSpc>
              <a:defRPr sz="32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a:xfrm>
            <a:off x="569678" y="6832851"/>
            <a:ext cx="6636146" cy="344417"/>
          </a:xfrm>
        </p:spPr>
        <p:txBody>
          <a:bodyPr/>
          <a:lstStyle>
            <a:lvl1pPr marL="0" indent="0">
              <a:lnSpc>
                <a:spcPts val="2564"/>
              </a:lnSpc>
              <a:defRPr sz="2100" b="1" smtClean="0">
                <a:latin typeface="+mn-lt"/>
                <a:cs typeface="Andalus" pitchFamily="2" charset="-78"/>
              </a:defRPr>
            </a:lvl1pPr>
          </a:lstStyle>
          <a:p>
            <a:r>
              <a:rPr lang="en-US" noProof="0" smtClean="0"/>
              <a:t>Click to edit Master subtitle style</a:t>
            </a:r>
            <a:endParaRPr lang="en-US" noProof="0" dirty="0" smtClean="0"/>
          </a:p>
        </p:txBody>
      </p:sp>
    </p:spTree>
    <p:extLst>
      <p:ext uri="{BB962C8B-B14F-4D97-AF65-F5344CB8AC3E}">
        <p14:creationId xmlns:p14="http://schemas.microsoft.com/office/powerpoint/2010/main" val="3344158492"/>
      </p:ext>
    </p:extLst>
  </p:cSld>
  <p:clrMapOvr>
    <a:masterClrMapping/>
  </p:clrMapOvr>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80694530"/>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Picture Divider">
    <p:spTree>
      <p:nvGrpSpPr>
        <p:cNvPr id="1" name=""/>
        <p:cNvGrpSpPr/>
        <p:nvPr/>
      </p:nvGrpSpPr>
      <p:grpSpPr>
        <a:xfrm>
          <a:off x="0" y="0"/>
          <a:ext cx="0" cy="0"/>
          <a:chOff x="0" y="0"/>
          <a:chExt cx="0" cy="0"/>
        </a:xfrm>
      </p:grpSpPr>
      <p:sp>
        <p:nvSpPr>
          <p:cNvPr id="2" name="Title 1"/>
          <p:cNvSpPr>
            <a:spLocks noGrp="1"/>
          </p:cNvSpPr>
          <p:nvPr>
            <p:ph type="title"/>
          </p:nvPr>
        </p:nvSpPr>
        <p:spPr>
          <a:xfrm>
            <a:off x="571701" y="3243394"/>
            <a:ext cx="5744693" cy="489500"/>
          </a:xfrm>
        </p:spPr>
        <p:txBody>
          <a:bodyPr/>
          <a:lstStyle>
            <a:lvl1pPr>
              <a:defRPr sz="3200"/>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34E12065-4B93-48D6-8A5B-D752033C0FE7}" type="slidenum">
              <a:rPr lang="en-US">
                <a:solidFill>
                  <a:srgbClr val="002776"/>
                </a:solidFill>
              </a:rPr>
              <a:pPr/>
              <a:t>‹#›</a:t>
            </a:fld>
            <a:endParaRPr lang="en-US" dirty="0">
              <a:solidFill>
                <a:srgbClr val="002776"/>
              </a:solidFill>
            </a:endParaRPr>
          </a:p>
        </p:txBody>
      </p:sp>
      <p:sp>
        <p:nvSpPr>
          <p:cNvPr id="5" name="Footer Placeholder 10"/>
          <p:cNvSpPr>
            <a:spLocks noGrp="1"/>
          </p:cNvSpPr>
          <p:nvPr>
            <p:ph type="ftr" sz="quarter" idx="3"/>
          </p:nvPr>
        </p:nvSpPr>
        <p:spPr>
          <a:xfrm>
            <a:off x="1080782" y="7427016"/>
            <a:ext cx="6044245" cy="163480"/>
          </a:xfrm>
          <a:prstGeom prst="rect">
            <a:avLst/>
          </a:prstGeom>
        </p:spPr>
        <p:txBody>
          <a:bodyPr vert="horz" wrap="square" lIns="0" tIns="0" rIns="0" bIns="0" numCol="1" anchor="t" anchorCtr="0" compatLnSpc="1">
            <a:prstTxWarp prst="textNoShape">
              <a:avLst/>
            </a:prstTxWarp>
            <a:noAutofit/>
          </a:bodyPr>
          <a:lstStyle>
            <a:lvl1pPr>
              <a:lnSpc>
                <a:spcPts val="1385"/>
              </a:lnSpc>
              <a:defRPr sz="1200">
                <a:solidFill>
                  <a:schemeClr val="tx2"/>
                </a:solidFill>
              </a:defRPr>
            </a:lvl1pPr>
          </a:lstStyle>
          <a:p>
            <a:pPr algn="l" defTabSz="1168794" fontAlgn="auto">
              <a:spcBef>
                <a:spcPts val="0"/>
              </a:spcBef>
              <a:spcAft>
                <a:spcPts val="0"/>
              </a:spcAft>
            </a:pPr>
            <a:endParaRPr lang="en-GB" b="0" dirty="0">
              <a:solidFill>
                <a:srgbClr val="002776"/>
              </a:solidFill>
              <a:latin typeface="Arial"/>
            </a:endParaRPr>
          </a:p>
        </p:txBody>
      </p:sp>
    </p:spTree>
    <p:extLst>
      <p:ext uri="{BB962C8B-B14F-4D97-AF65-F5344CB8AC3E}">
        <p14:creationId xmlns:p14="http://schemas.microsoft.com/office/powerpoint/2010/main" val="2061689211"/>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itle" preserve="1">
  <p:cSld name="Section Divider ">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599950" y="3026770"/>
            <a:ext cx="8557294" cy="1279264"/>
          </a:xfrm>
        </p:spPr>
        <p:txBody>
          <a:bodyPr/>
          <a:lstStyle>
            <a:lvl1pPr>
              <a:lnSpc>
                <a:spcPts val="5997"/>
              </a:lnSpc>
              <a:defRPr sz="6000" b="0">
                <a:solidFill>
                  <a:schemeClr val="bg2"/>
                </a:solidFill>
                <a:latin typeface="Times New Roman" pitchFamily="18"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50388685"/>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67696" y="1349103"/>
            <a:ext cx="5797791" cy="5915404"/>
          </a:xfrm>
        </p:spPr>
        <p:txBody>
          <a:bodyPr/>
          <a:lstStyle>
            <a:lvl1pPr>
              <a:defRPr sz="2300"/>
            </a:lvl1pPr>
            <a:lvl2pPr>
              <a:defRPr sz="2300"/>
            </a:lvl2pPr>
            <a:lvl3pPr>
              <a:defRPr sz="2300"/>
            </a:lvl3pPr>
            <a:lvl4pPr>
              <a:defRPr sz="21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559445" y="1349103"/>
            <a:ext cx="5799809" cy="5915404"/>
          </a:xfrm>
        </p:spPr>
        <p:txBody>
          <a:bodyPr/>
          <a:lstStyle>
            <a:lvl1pPr>
              <a:defRPr sz="2300"/>
            </a:lvl1pPr>
            <a:lvl2pPr>
              <a:defRPr sz="2300"/>
            </a:lvl2pPr>
            <a:lvl3pPr>
              <a:defRPr sz="2300"/>
            </a:lvl3pPr>
            <a:lvl4pPr>
              <a:defRPr sz="21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p:cNvSpPr>
          <p:nvPr>
            <p:ph type="sldNum" sz="quarter" idx="10"/>
          </p:nvPr>
        </p:nvSpPr>
        <p:spPr/>
        <p:txBody>
          <a:bodyPr/>
          <a:lstStyle>
            <a:lvl1pPr>
              <a:defRPr/>
            </a:lvl1pPr>
          </a:lstStyle>
          <a:p>
            <a:fld id="{D8FFA96A-D5A7-4DE1-BC0A-C3244EE05AA5}" type="slidenum">
              <a:rPr lang="en-US">
                <a:solidFill>
                  <a:srgbClr val="002776"/>
                </a:solidFill>
              </a:rPr>
              <a:pPr/>
              <a:t>‹#›</a:t>
            </a:fld>
            <a:endParaRPr lang="en-US" dirty="0">
              <a:solidFill>
                <a:srgbClr val="002776"/>
              </a:solidFill>
            </a:endParaRPr>
          </a:p>
        </p:txBody>
      </p:sp>
      <p:sp>
        <p:nvSpPr>
          <p:cNvPr id="7" name="Footer Placeholder 10"/>
          <p:cNvSpPr>
            <a:spLocks noGrp="1"/>
          </p:cNvSpPr>
          <p:nvPr>
            <p:ph type="ftr" sz="quarter" idx="3"/>
          </p:nvPr>
        </p:nvSpPr>
        <p:spPr>
          <a:xfrm>
            <a:off x="1080782" y="7428037"/>
            <a:ext cx="6044245" cy="163480"/>
          </a:xfrm>
          <a:prstGeom prst="rect">
            <a:avLst/>
          </a:prstGeom>
        </p:spPr>
        <p:txBody>
          <a:bodyPr vert="horz" wrap="square" lIns="0" tIns="0" rIns="0" bIns="0" numCol="1" anchor="t" anchorCtr="0" compatLnSpc="1">
            <a:prstTxWarp prst="textNoShape">
              <a:avLst/>
            </a:prstTxWarp>
            <a:noAutofit/>
          </a:bodyPr>
          <a:lstStyle>
            <a:lvl1pPr>
              <a:lnSpc>
                <a:spcPts val="1385"/>
              </a:lnSpc>
              <a:defRPr sz="1200">
                <a:solidFill>
                  <a:schemeClr val="tx2"/>
                </a:solidFill>
              </a:defRPr>
            </a:lvl1pPr>
          </a:lstStyle>
          <a:p>
            <a:pPr algn="l" defTabSz="1168794" fontAlgn="auto">
              <a:spcBef>
                <a:spcPts val="0"/>
              </a:spcBef>
              <a:spcAft>
                <a:spcPts val="0"/>
              </a:spcAft>
            </a:pPr>
            <a:endParaRPr lang="en-GB" b="0" dirty="0">
              <a:solidFill>
                <a:srgbClr val="002776"/>
              </a:solidFill>
              <a:latin typeface="Arial"/>
            </a:endParaRPr>
          </a:p>
        </p:txBody>
      </p:sp>
    </p:spTree>
    <p:extLst>
      <p:ext uri="{BB962C8B-B14F-4D97-AF65-F5344CB8AC3E}">
        <p14:creationId xmlns:p14="http://schemas.microsoft.com/office/powerpoint/2010/main" val="264897979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AEB0F4D5-BD91-4FCA-AE42-3932305F8AA9}" type="slidenum">
              <a:rPr lang="en-US">
                <a:solidFill>
                  <a:srgbClr val="002776"/>
                </a:solidFill>
              </a:rPr>
              <a:pPr/>
              <a:t>‹#›</a:t>
            </a:fld>
            <a:endParaRPr lang="en-US" dirty="0">
              <a:solidFill>
                <a:srgbClr val="002776"/>
              </a:solidFill>
            </a:endParaRPr>
          </a:p>
        </p:txBody>
      </p:sp>
      <p:sp>
        <p:nvSpPr>
          <p:cNvPr id="5" name="Footer Placeholder 10"/>
          <p:cNvSpPr>
            <a:spLocks noGrp="1"/>
          </p:cNvSpPr>
          <p:nvPr>
            <p:ph type="ftr" sz="quarter" idx="3"/>
          </p:nvPr>
        </p:nvSpPr>
        <p:spPr>
          <a:xfrm>
            <a:off x="1080782" y="7428037"/>
            <a:ext cx="6044245" cy="163480"/>
          </a:xfrm>
          <a:prstGeom prst="rect">
            <a:avLst/>
          </a:prstGeom>
        </p:spPr>
        <p:txBody>
          <a:bodyPr vert="horz" wrap="square" lIns="0" tIns="0" rIns="0" bIns="0" numCol="1" anchor="t" anchorCtr="0" compatLnSpc="1">
            <a:prstTxWarp prst="textNoShape">
              <a:avLst/>
            </a:prstTxWarp>
            <a:noAutofit/>
          </a:bodyPr>
          <a:lstStyle>
            <a:lvl1pPr>
              <a:lnSpc>
                <a:spcPts val="1385"/>
              </a:lnSpc>
              <a:defRPr sz="1200">
                <a:solidFill>
                  <a:schemeClr val="tx2"/>
                </a:solidFill>
              </a:defRPr>
            </a:lvl1pPr>
          </a:lstStyle>
          <a:p>
            <a:pPr algn="l" defTabSz="1168794" fontAlgn="auto">
              <a:spcBef>
                <a:spcPts val="0"/>
              </a:spcBef>
              <a:spcAft>
                <a:spcPts val="0"/>
              </a:spcAft>
            </a:pPr>
            <a:endParaRPr lang="en-GB" b="0" dirty="0">
              <a:solidFill>
                <a:srgbClr val="002776"/>
              </a:solidFill>
              <a:latin typeface="Arial"/>
            </a:endParaRPr>
          </a:p>
        </p:txBody>
      </p:sp>
    </p:spTree>
    <p:extLst>
      <p:ext uri="{BB962C8B-B14F-4D97-AF65-F5344CB8AC3E}">
        <p14:creationId xmlns:p14="http://schemas.microsoft.com/office/powerpoint/2010/main" val="1826973762"/>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E329EB4B-1393-4D9C-8DD8-C52DFD9C0516}" type="slidenum">
              <a:rPr lang="en-US">
                <a:solidFill>
                  <a:srgbClr val="002776"/>
                </a:solidFill>
              </a:rPr>
              <a:pPr/>
              <a:t>‹#›</a:t>
            </a:fld>
            <a:endParaRPr lang="en-US" dirty="0">
              <a:solidFill>
                <a:srgbClr val="002776"/>
              </a:solidFill>
            </a:endParaRPr>
          </a:p>
        </p:txBody>
      </p:sp>
      <p:sp>
        <p:nvSpPr>
          <p:cNvPr id="4" name="Footer Placeholder 10"/>
          <p:cNvSpPr>
            <a:spLocks noGrp="1"/>
          </p:cNvSpPr>
          <p:nvPr>
            <p:ph type="ftr" sz="quarter" idx="3"/>
          </p:nvPr>
        </p:nvSpPr>
        <p:spPr>
          <a:xfrm>
            <a:off x="1080782" y="7428037"/>
            <a:ext cx="6044245" cy="163480"/>
          </a:xfrm>
          <a:prstGeom prst="rect">
            <a:avLst/>
          </a:prstGeom>
        </p:spPr>
        <p:txBody>
          <a:bodyPr vert="horz" wrap="square" lIns="0" tIns="0" rIns="0" bIns="0" numCol="1" anchor="t" anchorCtr="0" compatLnSpc="1">
            <a:prstTxWarp prst="textNoShape">
              <a:avLst/>
            </a:prstTxWarp>
            <a:noAutofit/>
          </a:bodyPr>
          <a:lstStyle>
            <a:lvl1pPr>
              <a:lnSpc>
                <a:spcPts val="1385"/>
              </a:lnSpc>
              <a:defRPr sz="1200">
                <a:solidFill>
                  <a:schemeClr val="tx2"/>
                </a:solidFill>
              </a:defRPr>
            </a:lvl1pPr>
          </a:lstStyle>
          <a:p>
            <a:pPr algn="l" defTabSz="1168794" fontAlgn="auto">
              <a:spcBef>
                <a:spcPts val="0"/>
              </a:spcBef>
              <a:spcAft>
                <a:spcPts val="0"/>
              </a:spcAft>
            </a:pPr>
            <a:endParaRPr lang="en-GB" b="0" dirty="0">
              <a:solidFill>
                <a:srgbClr val="002776"/>
              </a:solidFill>
              <a:latin typeface="Arial"/>
            </a:endParaRPr>
          </a:p>
        </p:txBody>
      </p:sp>
    </p:spTree>
    <p:extLst>
      <p:ext uri="{BB962C8B-B14F-4D97-AF65-F5344CB8AC3E}">
        <p14:creationId xmlns:p14="http://schemas.microsoft.com/office/powerpoint/2010/main" val="185626491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2" cstate="print"/>
          <a:srcRect l="11237" t="27428" r="9845" b="25551"/>
          <a:stretch>
            <a:fillRect/>
          </a:stretch>
        </p:blipFill>
        <p:spPr bwMode="gray">
          <a:xfrm>
            <a:off x="3982739" y="3436424"/>
            <a:ext cx="4831715" cy="895985"/>
          </a:xfrm>
          <a:prstGeom prst="rect">
            <a:avLst/>
          </a:prstGeom>
          <a:noFill/>
          <a:ln w="9525">
            <a:noFill/>
            <a:miter lim="800000"/>
            <a:headEnd/>
            <a:tailEnd/>
          </a:ln>
        </p:spPr>
      </p:pic>
      <p:sp>
        <p:nvSpPr>
          <p:cNvPr id="3" name="Text Placeholder 5"/>
          <p:cNvSpPr>
            <a:spLocks noGrp="1"/>
          </p:cNvSpPr>
          <p:nvPr>
            <p:ph type="body" sz="quarter" idx="10"/>
          </p:nvPr>
        </p:nvSpPr>
        <p:spPr bwMode="gray">
          <a:xfrm>
            <a:off x="563270" y="6186835"/>
            <a:ext cx="6912864" cy="1305763"/>
          </a:xfrm>
        </p:spPr>
        <p:txBody>
          <a:bodyPr anchor="b" anchorCtr="0">
            <a:noAutofit/>
          </a:bodyPr>
          <a:lstStyle>
            <a:lvl1pPr>
              <a:lnSpc>
                <a:spcPts val="1029"/>
              </a:lnSpc>
              <a:spcBef>
                <a:spcPts val="514"/>
              </a:spcBef>
              <a:spcAft>
                <a:spcPts val="514"/>
              </a:spcAft>
              <a:defRPr sz="900"/>
            </a:lvl1pPr>
          </a:lstStyle>
          <a:p>
            <a:pPr lvl="0"/>
            <a:r>
              <a:rPr lang="en-US" smtClean="0"/>
              <a:t>Click to edit Master text styles</a:t>
            </a:r>
          </a:p>
        </p:txBody>
      </p:sp>
    </p:spTree>
    <p:extLst>
      <p:ext uri="{BB962C8B-B14F-4D97-AF65-F5344CB8AC3E}">
        <p14:creationId xmlns:p14="http://schemas.microsoft.com/office/powerpoint/2010/main" val="2848789854"/>
      </p:ext>
    </p:extLst>
  </p:cSld>
  <p:clrMapOvr>
    <a:masterClrMapping/>
  </p:clrMapOvr>
  <p:transition/>
  <p:hf hd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Table Placeholder 5"/>
          <p:cNvSpPr>
            <a:spLocks noGrp="1"/>
          </p:cNvSpPr>
          <p:nvPr>
            <p:ph type="tbl" sz="quarter" idx="12"/>
          </p:nvPr>
        </p:nvSpPr>
        <p:spPr>
          <a:xfrm>
            <a:off x="568061" y="1476076"/>
            <a:ext cx="11791738" cy="5659120"/>
          </a:xfrm>
          <a:noFill/>
          <a:ln>
            <a:solidFill>
              <a:schemeClr val="tx2"/>
            </a:solidFill>
          </a:ln>
        </p:spPr>
        <p:txBody>
          <a:bodyPr/>
          <a:lstStyle/>
          <a:p>
            <a:pPr lvl="0"/>
            <a:r>
              <a:rPr lang="en-US" noProof="0" dirty="0" smtClean="0"/>
              <a:t>Click icon to add table</a:t>
            </a:r>
            <a:endParaRPr lang="en-US" noProof="0" dirty="0"/>
          </a:p>
        </p:txBody>
      </p:sp>
      <p:sp>
        <p:nvSpPr>
          <p:cNvPr id="4" name="Slide Number Placeholder 2"/>
          <p:cNvSpPr>
            <a:spLocks noGrp="1"/>
          </p:cNvSpPr>
          <p:nvPr>
            <p:ph type="sldNum" sz="quarter" idx="13"/>
          </p:nvPr>
        </p:nvSpPr>
        <p:spPr/>
        <p:txBody>
          <a:bodyPr/>
          <a:lstStyle>
            <a:lvl1pPr>
              <a:defRPr/>
            </a:lvl1pPr>
          </a:lstStyle>
          <a:p>
            <a:fld id="{751D9631-F9E9-4DC6-B7E6-693A66A7964B}" type="slidenum">
              <a:rPr lang="en-GB">
                <a:solidFill>
                  <a:srgbClr val="002776"/>
                </a:solidFill>
              </a:rPr>
              <a:pPr/>
              <a:t>‹#›</a:t>
            </a:fld>
            <a:endParaRPr lang="en-GB" dirty="0">
              <a:solidFill>
                <a:srgbClr val="002776"/>
              </a:solidFill>
            </a:endParaRPr>
          </a:p>
        </p:txBody>
      </p:sp>
      <p:sp>
        <p:nvSpPr>
          <p:cNvPr id="5" name="Footer Placeholder 3"/>
          <p:cNvSpPr>
            <a:spLocks noGrp="1"/>
          </p:cNvSpPr>
          <p:nvPr>
            <p:ph type="ftr" sz="quarter" idx="14"/>
          </p:nvPr>
        </p:nvSpPr>
        <p:spPr>
          <a:xfrm>
            <a:off x="1080782" y="7428037"/>
            <a:ext cx="6044245" cy="163480"/>
          </a:xfrm>
          <a:prstGeom prst="rect">
            <a:avLst/>
          </a:prstGeom>
        </p:spPr>
        <p:txBody>
          <a:bodyPr lIns="116882" tIns="58440" rIns="116882" bIns="58440"/>
          <a:lstStyle>
            <a:lvl1pPr>
              <a:defRPr/>
            </a:lvl1pPr>
          </a:lstStyle>
          <a:p>
            <a:pPr algn="l" defTabSz="1168794" fontAlgn="auto">
              <a:spcBef>
                <a:spcPts val="0"/>
              </a:spcBef>
              <a:spcAft>
                <a:spcPts val="0"/>
              </a:spcAft>
            </a:pPr>
            <a:endParaRPr lang="en-GB" sz="2300" b="0" dirty="0">
              <a:solidFill>
                <a:srgbClr val="000000"/>
              </a:solidFill>
              <a:latin typeface="Arial"/>
            </a:endParaRPr>
          </a:p>
        </p:txBody>
      </p:sp>
    </p:spTree>
    <p:extLst>
      <p:ext uri="{BB962C8B-B14F-4D97-AF65-F5344CB8AC3E}">
        <p14:creationId xmlns:p14="http://schemas.microsoft.com/office/powerpoint/2010/main" val="84670646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C731D5CD-A07D-4B8A-9609-3D6D60AC6B28}" type="slidenum">
              <a:rPr lang="en-US">
                <a:solidFill>
                  <a:srgbClr val="002776"/>
                </a:solidFill>
              </a:rPr>
              <a:pPr/>
              <a:t>‹#›</a:t>
            </a:fld>
            <a:endParaRPr lang="en-US" dirty="0">
              <a:solidFill>
                <a:srgbClr val="002776"/>
              </a:solidFill>
            </a:endParaRPr>
          </a:p>
        </p:txBody>
      </p:sp>
      <p:sp>
        <p:nvSpPr>
          <p:cNvPr id="5" name="Footer Placeholder 4"/>
          <p:cNvSpPr>
            <a:spLocks noGrp="1"/>
          </p:cNvSpPr>
          <p:nvPr>
            <p:ph type="ftr" sz="quarter" idx="11"/>
          </p:nvPr>
        </p:nvSpPr>
        <p:spPr>
          <a:xfrm>
            <a:off x="1080782" y="7428037"/>
            <a:ext cx="6044245" cy="163480"/>
          </a:xfrm>
          <a:prstGeom prst="rect">
            <a:avLst/>
          </a:prstGeom>
        </p:spPr>
        <p:txBody>
          <a:bodyPr lIns="116882" tIns="58440" rIns="116882" bIns="58440"/>
          <a:lstStyle>
            <a:lvl1pPr>
              <a:defRPr/>
            </a:lvl1pPr>
          </a:lstStyle>
          <a:p>
            <a:pPr algn="l" defTabSz="1168794" fontAlgn="auto">
              <a:spcBef>
                <a:spcPts val="0"/>
              </a:spcBef>
              <a:spcAft>
                <a:spcPts val="0"/>
              </a:spcAft>
            </a:pPr>
            <a:endParaRPr lang="en-US" sz="2300" b="0" dirty="0">
              <a:solidFill>
                <a:srgbClr val="000000"/>
              </a:solidFill>
              <a:latin typeface="Arial"/>
            </a:endParaRPr>
          </a:p>
        </p:txBody>
      </p:sp>
    </p:spTree>
    <p:extLst>
      <p:ext uri="{BB962C8B-B14F-4D97-AF65-F5344CB8AC3E}">
        <p14:creationId xmlns:p14="http://schemas.microsoft.com/office/powerpoint/2010/main" val="255981204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69496" y="396807"/>
            <a:ext cx="907057" cy="6867710"/>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67669" y="396807"/>
            <a:ext cx="10293662" cy="68677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5CA88710-878A-4A9B-8A0D-63B45F4EDAA4}" type="slidenum">
              <a:rPr lang="en-US">
                <a:solidFill>
                  <a:srgbClr val="002776"/>
                </a:solidFill>
              </a:rPr>
              <a:pPr/>
              <a:t>‹#›</a:t>
            </a:fld>
            <a:endParaRPr lang="en-US" dirty="0">
              <a:solidFill>
                <a:srgbClr val="002776"/>
              </a:solidFill>
            </a:endParaRPr>
          </a:p>
        </p:txBody>
      </p:sp>
      <p:sp>
        <p:nvSpPr>
          <p:cNvPr id="5" name="Footer Placeholder 4"/>
          <p:cNvSpPr>
            <a:spLocks noGrp="1"/>
          </p:cNvSpPr>
          <p:nvPr>
            <p:ph type="ftr" sz="quarter" idx="11"/>
          </p:nvPr>
        </p:nvSpPr>
        <p:spPr>
          <a:xfrm>
            <a:off x="1080782" y="7428037"/>
            <a:ext cx="6044245" cy="163480"/>
          </a:xfrm>
          <a:prstGeom prst="rect">
            <a:avLst/>
          </a:prstGeom>
        </p:spPr>
        <p:txBody>
          <a:bodyPr lIns="116882" tIns="58440" rIns="116882" bIns="58440"/>
          <a:lstStyle>
            <a:lvl1pPr>
              <a:defRPr/>
            </a:lvl1pPr>
          </a:lstStyle>
          <a:p>
            <a:pPr algn="l" defTabSz="1168794" fontAlgn="auto">
              <a:spcBef>
                <a:spcPts val="0"/>
              </a:spcBef>
              <a:spcAft>
                <a:spcPts val="0"/>
              </a:spcAft>
            </a:pPr>
            <a:endParaRPr lang="en-US" sz="2300" b="0" dirty="0">
              <a:solidFill>
                <a:srgbClr val="000000"/>
              </a:solidFill>
              <a:latin typeface="Arial"/>
            </a:endParaRPr>
          </a:p>
        </p:txBody>
      </p:sp>
    </p:spTree>
    <p:extLst>
      <p:ext uri="{BB962C8B-B14F-4D97-AF65-F5344CB8AC3E}">
        <p14:creationId xmlns:p14="http://schemas.microsoft.com/office/powerpoint/2010/main" val="408014278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9" y="1585570"/>
            <a:ext cx="11662258" cy="5539130"/>
          </a:xfrm>
          <a:prstGeom prst="rect">
            <a:avLst/>
          </a:prstGeom>
        </p:spPr>
        <p:txBody>
          <a:bodyPr vert="horz" lIns="0" tIns="0" rIns="0" bIns="0" rtlCol="0">
            <a:noAutofit/>
          </a:bodyPr>
          <a:lstStyle>
            <a:lvl1pPr marL="0" marR="0" indent="0" algn="l" defTabSz="1170292" rtl="0" eaLnBrk="1" fontAlgn="base" latinLnBrk="0" hangingPunct="1">
              <a:lnSpc>
                <a:spcPct val="100000"/>
              </a:lnSpc>
              <a:spcBef>
                <a:spcPts val="2829"/>
              </a:spcBef>
              <a:spcAft>
                <a:spcPct val="0"/>
              </a:spcAft>
              <a:buClrTx/>
              <a:buSzTx/>
              <a:buFont typeface="Arial" pitchFamily="34" charset="0"/>
              <a:buNone/>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1pPr>
            <a:lvl2pPr marL="223493" marR="0" indent="-221471" algn="l" defTabSz="1170292"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0292"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0292"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0292"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0292"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580097" y="883419"/>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1170292"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580097" y="467914"/>
            <a:ext cx="11662258" cy="415498"/>
          </a:xfrm>
          <a:prstGeom prst="rect">
            <a:avLst/>
          </a:prstGeom>
        </p:spPr>
        <p:txBody>
          <a:bodyPr lIns="0" tIns="0" rIns="0" bIns="0" anchor="b" anchorCtr="0">
            <a:spAutoFit/>
          </a:bodyPr>
          <a:lstStyle/>
          <a:p>
            <a:pPr marL="0" marR="0" lvl="0" indent="0" algn="l" defTabSz="1170292"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28232376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20835" name="Title Placeholder 1"/>
          <p:cNvSpPr>
            <a:spLocks noGrp="1"/>
          </p:cNvSpPr>
          <p:nvPr>
            <p:ph type="ctrTitle"/>
          </p:nvPr>
        </p:nvSpPr>
        <p:spPr>
          <a:xfrm>
            <a:off x="1599964" y="3271170"/>
            <a:ext cx="5595776" cy="1900652"/>
          </a:xfrm>
        </p:spPr>
        <p:txBody>
          <a:bodyPr/>
          <a:lstStyle>
            <a:lvl1pPr>
              <a:lnSpc>
                <a:spcPts val="3226"/>
              </a:lnSpc>
              <a:defRPr sz="32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a:xfrm>
            <a:off x="569678" y="6832813"/>
            <a:ext cx="6636146" cy="344417"/>
          </a:xfrm>
        </p:spPr>
        <p:txBody>
          <a:bodyPr/>
          <a:lstStyle>
            <a:lvl1pPr marL="0" indent="0">
              <a:lnSpc>
                <a:spcPts val="2564"/>
              </a:lnSpc>
              <a:defRPr sz="2100" b="1" smtClean="0">
                <a:latin typeface="+mn-lt"/>
                <a:cs typeface="Andalus" pitchFamily="2" charset="-78"/>
              </a:defRPr>
            </a:lvl1pPr>
          </a:lstStyle>
          <a:p>
            <a:r>
              <a:rPr lang="en-US" noProof="0" smtClean="0"/>
              <a:t>Click to edit Master subtitle style</a:t>
            </a:r>
            <a:endParaRPr lang="en-US" noProof="0" dirty="0" smtClean="0"/>
          </a:p>
        </p:txBody>
      </p:sp>
    </p:spTree>
    <p:extLst>
      <p:ext uri="{BB962C8B-B14F-4D97-AF65-F5344CB8AC3E}">
        <p14:creationId xmlns:p14="http://schemas.microsoft.com/office/powerpoint/2010/main" val="986949301"/>
      </p:ext>
    </p:extLst>
  </p:cSld>
  <p:clrMapOvr>
    <a:masterClrMapping/>
  </p:clrMapOvr>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81968304"/>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Picture Divider">
    <p:spTree>
      <p:nvGrpSpPr>
        <p:cNvPr id="1" name=""/>
        <p:cNvGrpSpPr/>
        <p:nvPr/>
      </p:nvGrpSpPr>
      <p:grpSpPr>
        <a:xfrm>
          <a:off x="0" y="0"/>
          <a:ext cx="0" cy="0"/>
          <a:chOff x="0" y="0"/>
          <a:chExt cx="0" cy="0"/>
        </a:xfrm>
      </p:grpSpPr>
      <p:sp>
        <p:nvSpPr>
          <p:cNvPr id="2" name="Title 1"/>
          <p:cNvSpPr>
            <a:spLocks noGrp="1"/>
          </p:cNvSpPr>
          <p:nvPr>
            <p:ph type="title"/>
          </p:nvPr>
        </p:nvSpPr>
        <p:spPr>
          <a:xfrm>
            <a:off x="571701" y="3243389"/>
            <a:ext cx="5744693" cy="489500"/>
          </a:xfrm>
        </p:spPr>
        <p:txBody>
          <a:bodyPr/>
          <a:lstStyle>
            <a:lvl1pPr>
              <a:defRPr sz="3200"/>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34E12065-4B93-48D6-8A5B-D752033C0FE7}" type="slidenum">
              <a:rPr lang="en-US">
                <a:solidFill>
                  <a:srgbClr val="002776"/>
                </a:solidFill>
              </a:rPr>
              <a:pPr/>
              <a:t>‹#›</a:t>
            </a:fld>
            <a:endParaRPr lang="en-US" dirty="0">
              <a:solidFill>
                <a:srgbClr val="002776"/>
              </a:solidFill>
            </a:endParaRPr>
          </a:p>
        </p:txBody>
      </p:sp>
      <p:sp>
        <p:nvSpPr>
          <p:cNvPr id="5" name="Footer Placeholder 10"/>
          <p:cNvSpPr>
            <a:spLocks noGrp="1"/>
          </p:cNvSpPr>
          <p:nvPr>
            <p:ph type="ftr" sz="quarter" idx="3"/>
          </p:nvPr>
        </p:nvSpPr>
        <p:spPr>
          <a:xfrm>
            <a:off x="1080775" y="7426974"/>
            <a:ext cx="6044245" cy="163480"/>
          </a:xfrm>
          <a:prstGeom prst="rect">
            <a:avLst/>
          </a:prstGeom>
        </p:spPr>
        <p:txBody>
          <a:bodyPr vert="horz" wrap="square" lIns="0" tIns="0" rIns="0" bIns="0" numCol="1" anchor="t" anchorCtr="0" compatLnSpc="1">
            <a:prstTxWarp prst="textNoShape">
              <a:avLst/>
            </a:prstTxWarp>
            <a:noAutofit/>
          </a:bodyPr>
          <a:lstStyle>
            <a:lvl1pPr>
              <a:lnSpc>
                <a:spcPts val="1385"/>
              </a:lnSpc>
              <a:defRPr sz="1200">
                <a:solidFill>
                  <a:schemeClr val="tx2"/>
                </a:solidFill>
              </a:defRPr>
            </a:lvl1pPr>
          </a:lstStyle>
          <a:p>
            <a:pPr algn="l" defTabSz="1173034" fontAlgn="auto">
              <a:spcBef>
                <a:spcPts val="0"/>
              </a:spcBef>
              <a:spcAft>
                <a:spcPts val="0"/>
              </a:spcAft>
            </a:pPr>
            <a:endParaRPr lang="en-GB" b="0" dirty="0">
              <a:solidFill>
                <a:srgbClr val="002776"/>
              </a:solidFill>
              <a:latin typeface="Arial"/>
            </a:endParaRPr>
          </a:p>
        </p:txBody>
      </p:sp>
    </p:spTree>
    <p:extLst>
      <p:ext uri="{BB962C8B-B14F-4D97-AF65-F5344CB8AC3E}">
        <p14:creationId xmlns:p14="http://schemas.microsoft.com/office/powerpoint/2010/main" val="2036979937"/>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itle" preserve="1">
  <p:cSld name="Section Divider ">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599950" y="3026744"/>
            <a:ext cx="8557294" cy="1279264"/>
          </a:xfrm>
        </p:spPr>
        <p:txBody>
          <a:bodyPr/>
          <a:lstStyle>
            <a:lvl1pPr>
              <a:lnSpc>
                <a:spcPts val="5998"/>
              </a:lnSpc>
              <a:defRPr sz="6000" b="0">
                <a:solidFill>
                  <a:schemeClr val="bg2"/>
                </a:solidFill>
                <a:latin typeface="Times New Roman" pitchFamily="18"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44431729"/>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67668" y="1349100"/>
            <a:ext cx="5797789" cy="5915404"/>
          </a:xfrm>
        </p:spPr>
        <p:txBody>
          <a:bodyPr/>
          <a:lstStyle>
            <a:lvl1pPr>
              <a:defRPr sz="2300"/>
            </a:lvl1pPr>
            <a:lvl2pPr>
              <a:defRPr sz="2300"/>
            </a:lvl2pPr>
            <a:lvl3pPr>
              <a:defRPr sz="2300"/>
            </a:lvl3pPr>
            <a:lvl4pPr>
              <a:defRPr sz="21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559406" y="1349100"/>
            <a:ext cx="5799809" cy="5915404"/>
          </a:xfrm>
        </p:spPr>
        <p:txBody>
          <a:bodyPr/>
          <a:lstStyle>
            <a:lvl1pPr>
              <a:defRPr sz="2300"/>
            </a:lvl1pPr>
            <a:lvl2pPr>
              <a:defRPr sz="2300"/>
            </a:lvl2pPr>
            <a:lvl3pPr>
              <a:defRPr sz="2300"/>
            </a:lvl3pPr>
            <a:lvl4pPr>
              <a:defRPr sz="21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p:cNvSpPr>
          <p:nvPr>
            <p:ph type="sldNum" sz="quarter" idx="10"/>
          </p:nvPr>
        </p:nvSpPr>
        <p:spPr/>
        <p:txBody>
          <a:bodyPr/>
          <a:lstStyle>
            <a:lvl1pPr>
              <a:defRPr/>
            </a:lvl1pPr>
          </a:lstStyle>
          <a:p>
            <a:fld id="{D8FFA96A-D5A7-4DE1-BC0A-C3244EE05AA5}" type="slidenum">
              <a:rPr lang="en-US">
                <a:solidFill>
                  <a:srgbClr val="002776"/>
                </a:solidFill>
              </a:rPr>
              <a:pPr/>
              <a:t>‹#›</a:t>
            </a:fld>
            <a:endParaRPr lang="en-US" dirty="0">
              <a:solidFill>
                <a:srgbClr val="002776"/>
              </a:solidFill>
            </a:endParaRPr>
          </a:p>
        </p:txBody>
      </p:sp>
      <p:sp>
        <p:nvSpPr>
          <p:cNvPr id="7" name="Footer Placeholder 10"/>
          <p:cNvSpPr>
            <a:spLocks noGrp="1"/>
          </p:cNvSpPr>
          <p:nvPr>
            <p:ph type="ftr" sz="quarter" idx="3"/>
          </p:nvPr>
        </p:nvSpPr>
        <p:spPr>
          <a:xfrm>
            <a:off x="1080775" y="7427994"/>
            <a:ext cx="6044245" cy="163480"/>
          </a:xfrm>
          <a:prstGeom prst="rect">
            <a:avLst/>
          </a:prstGeom>
        </p:spPr>
        <p:txBody>
          <a:bodyPr vert="horz" wrap="square" lIns="0" tIns="0" rIns="0" bIns="0" numCol="1" anchor="t" anchorCtr="0" compatLnSpc="1">
            <a:prstTxWarp prst="textNoShape">
              <a:avLst/>
            </a:prstTxWarp>
            <a:noAutofit/>
          </a:bodyPr>
          <a:lstStyle>
            <a:lvl1pPr>
              <a:lnSpc>
                <a:spcPts val="1385"/>
              </a:lnSpc>
              <a:defRPr sz="1200">
                <a:solidFill>
                  <a:schemeClr val="tx2"/>
                </a:solidFill>
              </a:defRPr>
            </a:lvl1pPr>
          </a:lstStyle>
          <a:p>
            <a:pPr algn="l" defTabSz="1173034" fontAlgn="auto">
              <a:spcBef>
                <a:spcPts val="0"/>
              </a:spcBef>
              <a:spcAft>
                <a:spcPts val="0"/>
              </a:spcAft>
            </a:pPr>
            <a:endParaRPr lang="en-GB" b="0" dirty="0">
              <a:solidFill>
                <a:srgbClr val="002776"/>
              </a:solidFill>
              <a:latin typeface="Arial"/>
            </a:endParaRPr>
          </a:p>
        </p:txBody>
      </p:sp>
    </p:spTree>
    <p:extLst>
      <p:ext uri="{BB962C8B-B14F-4D97-AF65-F5344CB8AC3E}">
        <p14:creationId xmlns:p14="http://schemas.microsoft.com/office/powerpoint/2010/main" val="3748380890"/>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AEB0F4D5-BD91-4FCA-AE42-3932305F8AA9}" type="slidenum">
              <a:rPr lang="en-US">
                <a:solidFill>
                  <a:srgbClr val="002776"/>
                </a:solidFill>
              </a:rPr>
              <a:pPr/>
              <a:t>‹#›</a:t>
            </a:fld>
            <a:endParaRPr lang="en-US" dirty="0">
              <a:solidFill>
                <a:srgbClr val="002776"/>
              </a:solidFill>
            </a:endParaRPr>
          </a:p>
        </p:txBody>
      </p:sp>
      <p:sp>
        <p:nvSpPr>
          <p:cNvPr id="5" name="Footer Placeholder 10"/>
          <p:cNvSpPr>
            <a:spLocks noGrp="1"/>
          </p:cNvSpPr>
          <p:nvPr>
            <p:ph type="ftr" sz="quarter" idx="3"/>
          </p:nvPr>
        </p:nvSpPr>
        <p:spPr>
          <a:xfrm>
            <a:off x="1080775" y="7427994"/>
            <a:ext cx="6044245" cy="163480"/>
          </a:xfrm>
          <a:prstGeom prst="rect">
            <a:avLst/>
          </a:prstGeom>
        </p:spPr>
        <p:txBody>
          <a:bodyPr vert="horz" wrap="square" lIns="0" tIns="0" rIns="0" bIns="0" numCol="1" anchor="t" anchorCtr="0" compatLnSpc="1">
            <a:prstTxWarp prst="textNoShape">
              <a:avLst/>
            </a:prstTxWarp>
            <a:noAutofit/>
          </a:bodyPr>
          <a:lstStyle>
            <a:lvl1pPr>
              <a:lnSpc>
                <a:spcPts val="1385"/>
              </a:lnSpc>
              <a:defRPr sz="1200">
                <a:solidFill>
                  <a:schemeClr val="tx2"/>
                </a:solidFill>
              </a:defRPr>
            </a:lvl1pPr>
          </a:lstStyle>
          <a:p>
            <a:pPr algn="l" defTabSz="1173034" fontAlgn="auto">
              <a:spcBef>
                <a:spcPts val="0"/>
              </a:spcBef>
              <a:spcAft>
                <a:spcPts val="0"/>
              </a:spcAft>
            </a:pPr>
            <a:endParaRPr lang="en-GB" b="0" dirty="0">
              <a:solidFill>
                <a:srgbClr val="002776"/>
              </a:solidFill>
              <a:latin typeface="Arial"/>
            </a:endParaRPr>
          </a:p>
        </p:txBody>
      </p:sp>
    </p:spTree>
    <p:extLst>
      <p:ext uri="{BB962C8B-B14F-4D97-AF65-F5344CB8AC3E}">
        <p14:creationId xmlns:p14="http://schemas.microsoft.com/office/powerpoint/2010/main" val="133600875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spAutoFit/>
          </a:bodyPr>
          <a:lstStyle/>
          <a:p>
            <a:r>
              <a:rPr lang="en-US" smtClean="0"/>
              <a:t>Click to edit Master title style</a:t>
            </a:r>
            <a:endParaRPr lang="en-US" dirty="0"/>
          </a:p>
        </p:txBody>
      </p:sp>
      <p:sp>
        <p:nvSpPr>
          <p:cNvPr id="3" name="Text Placeholder 7"/>
          <p:cNvSpPr>
            <a:spLocks noGrp="1"/>
          </p:cNvSpPr>
          <p:nvPr>
            <p:ph type="body" sz="quarter" idx="11"/>
          </p:nvPr>
        </p:nvSpPr>
        <p:spPr bwMode="gray">
          <a:xfrm>
            <a:off x="580073" y="883406"/>
            <a:ext cx="11662258" cy="290849"/>
          </a:xfrm>
          <a:noFill/>
          <a:ln w="9525">
            <a:noFill/>
            <a:miter lim="800000"/>
            <a:headEnd/>
            <a:tailEnd/>
          </a:ln>
        </p:spPr>
        <p:txBody>
          <a:bodyPr lIns="0" tIns="0" rIns="0" bIns="0">
            <a:spAutoFit/>
          </a:bodyPr>
          <a:lstStyle>
            <a:lvl1pPr algn="l" rtl="0" eaLnBrk="0" fontAlgn="base" hangingPunct="0">
              <a:lnSpc>
                <a:spcPct val="90000"/>
              </a:lnSpc>
              <a:spcBef>
                <a:spcPct val="0"/>
              </a:spcBef>
              <a:spcAft>
                <a:spcPct val="0"/>
              </a:spcAft>
              <a:defRPr lang="en-US" sz="2100" b="0" kern="1200" dirty="0">
                <a:solidFill>
                  <a:schemeClr val="tx1"/>
                </a:solidFill>
                <a:latin typeface="Calibri" pitchFamily="34" charset="0"/>
                <a:ea typeface="+mn-ea"/>
                <a:cs typeface="Calibri"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301431814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E329EB4B-1393-4D9C-8DD8-C52DFD9C0516}" type="slidenum">
              <a:rPr lang="en-US">
                <a:solidFill>
                  <a:srgbClr val="002776"/>
                </a:solidFill>
              </a:rPr>
              <a:pPr/>
              <a:t>‹#›</a:t>
            </a:fld>
            <a:endParaRPr lang="en-US" dirty="0">
              <a:solidFill>
                <a:srgbClr val="002776"/>
              </a:solidFill>
            </a:endParaRPr>
          </a:p>
        </p:txBody>
      </p:sp>
      <p:sp>
        <p:nvSpPr>
          <p:cNvPr id="4" name="Footer Placeholder 10"/>
          <p:cNvSpPr>
            <a:spLocks noGrp="1"/>
          </p:cNvSpPr>
          <p:nvPr>
            <p:ph type="ftr" sz="quarter" idx="3"/>
          </p:nvPr>
        </p:nvSpPr>
        <p:spPr>
          <a:xfrm>
            <a:off x="1080775" y="7427994"/>
            <a:ext cx="6044245" cy="163480"/>
          </a:xfrm>
          <a:prstGeom prst="rect">
            <a:avLst/>
          </a:prstGeom>
        </p:spPr>
        <p:txBody>
          <a:bodyPr vert="horz" wrap="square" lIns="0" tIns="0" rIns="0" bIns="0" numCol="1" anchor="t" anchorCtr="0" compatLnSpc="1">
            <a:prstTxWarp prst="textNoShape">
              <a:avLst/>
            </a:prstTxWarp>
            <a:noAutofit/>
          </a:bodyPr>
          <a:lstStyle>
            <a:lvl1pPr>
              <a:lnSpc>
                <a:spcPts val="1385"/>
              </a:lnSpc>
              <a:defRPr sz="1200">
                <a:solidFill>
                  <a:schemeClr val="tx2"/>
                </a:solidFill>
              </a:defRPr>
            </a:lvl1pPr>
          </a:lstStyle>
          <a:p>
            <a:pPr algn="l" defTabSz="1173034" fontAlgn="auto">
              <a:spcBef>
                <a:spcPts val="0"/>
              </a:spcBef>
              <a:spcAft>
                <a:spcPts val="0"/>
              </a:spcAft>
            </a:pPr>
            <a:endParaRPr lang="en-GB" b="0" dirty="0">
              <a:solidFill>
                <a:srgbClr val="002776"/>
              </a:solidFill>
              <a:latin typeface="Arial"/>
            </a:endParaRPr>
          </a:p>
        </p:txBody>
      </p:sp>
    </p:spTree>
    <p:extLst>
      <p:ext uri="{BB962C8B-B14F-4D97-AF65-F5344CB8AC3E}">
        <p14:creationId xmlns:p14="http://schemas.microsoft.com/office/powerpoint/2010/main" val="122450814"/>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Table Placeholder 5"/>
          <p:cNvSpPr>
            <a:spLocks noGrp="1"/>
          </p:cNvSpPr>
          <p:nvPr>
            <p:ph type="tbl" sz="quarter" idx="12"/>
          </p:nvPr>
        </p:nvSpPr>
        <p:spPr>
          <a:xfrm>
            <a:off x="568056" y="1476075"/>
            <a:ext cx="11791738" cy="5659120"/>
          </a:xfrm>
          <a:noFill/>
          <a:ln>
            <a:solidFill>
              <a:schemeClr val="tx2"/>
            </a:solidFill>
          </a:ln>
        </p:spPr>
        <p:txBody>
          <a:bodyPr/>
          <a:lstStyle/>
          <a:p>
            <a:pPr lvl="0"/>
            <a:r>
              <a:rPr lang="en-US" noProof="0" dirty="0" smtClean="0"/>
              <a:t>Click icon to add table</a:t>
            </a:r>
            <a:endParaRPr lang="en-US" noProof="0" dirty="0"/>
          </a:p>
        </p:txBody>
      </p:sp>
      <p:sp>
        <p:nvSpPr>
          <p:cNvPr id="4" name="Slide Number Placeholder 2"/>
          <p:cNvSpPr>
            <a:spLocks noGrp="1"/>
          </p:cNvSpPr>
          <p:nvPr>
            <p:ph type="sldNum" sz="quarter" idx="13"/>
          </p:nvPr>
        </p:nvSpPr>
        <p:spPr/>
        <p:txBody>
          <a:bodyPr/>
          <a:lstStyle>
            <a:lvl1pPr>
              <a:defRPr/>
            </a:lvl1pPr>
          </a:lstStyle>
          <a:p>
            <a:fld id="{751D9631-F9E9-4DC6-B7E6-693A66A7964B}" type="slidenum">
              <a:rPr lang="en-GB">
                <a:solidFill>
                  <a:srgbClr val="002776"/>
                </a:solidFill>
              </a:rPr>
              <a:pPr/>
              <a:t>‹#›</a:t>
            </a:fld>
            <a:endParaRPr lang="en-GB" dirty="0">
              <a:solidFill>
                <a:srgbClr val="002776"/>
              </a:solidFill>
            </a:endParaRPr>
          </a:p>
        </p:txBody>
      </p:sp>
      <p:sp>
        <p:nvSpPr>
          <p:cNvPr id="5" name="Footer Placeholder 3"/>
          <p:cNvSpPr>
            <a:spLocks noGrp="1"/>
          </p:cNvSpPr>
          <p:nvPr>
            <p:ph type="ftr" sz="quarter" idx="14"/>
          </p:nvPr>
        </p:nvSpPr>
        <p:spPr>
          <a:xfrm>
            <a:off x="1080775" y="7427994"/>
            <a:ext cx="6044245" cy="163480"/>
          </a:xfrm>
          <a:prstGeom prst="rect">
            <a:avLst/>
          </a:prstGeom>
        </p:spPr>
        <p:txBody>
          <a:bodyPr lIns="117305" tIns="58651" rIns="117305" bIns="58651"/>
          <a:lstStyle>
            <a:lvl1pPr>
              <a:defRPr/>
            </a:lvl1pPr>
          </a:lstStyle>
          <a:p>
            <a:pPr algn="l" defTabSz="1173034" fontAlgn="auto">
              <a:spcBef>
                <a:spcPts val="0"/>
              </a:spcBef>
              <a:spcAft>
                <a:spcPts val="0"/>
              </a:spcAft>
            </a:pPr>
            <a:endParaRPr lang="en-GB" sz="2300" b="0" dirty="0">
              <a:solidFill>
                <a:srgbClr val="000000"/>
              </a:solidFill>
              <a:latin typeface="Arial"/>
            </a:endParaRPr>
          </a:p>
        </p:txBody>
      </p:sp>
    </p:spTree>
    <p:extLst>
      <p:ext uri="{BB962C8B-B14F-4D97-AF65-F5344CB8AC3E}">
        <p14:creationId xmlns:p14="http://schemas.microsoft.com/office/powerpoint/2010/main" val="276294354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C731D5CD-A07D-4B8A-9609-3D6D60AC6B28}" type="slidenum">
              <a:rPr lang="en-US">
                <a:solidFill>
                  <a:srgbClr val="002776"/>
                </a:solidFill>
              </a:rPr>
              <a:pPr/>
              <a:t>‹#›</a:t>
            </a:fld>
            <a:endParaRPr lang="en-US" dirty="0">
              <a:solidFill>
                <a:srgbClr val="002776"/>
              </a:solidFill>
            </a:endParaRPr>
          </a:p>
        </p:txBody>
      </p:sp>
      <p:sp>
        <p:nvSpPr>
          <p:cNvPr id="5" name="Footer Placeholder 4"/>
          <p:cNvSpPr>
            <a:spLocks noGrp="1"/>
          </p:cNvSpPr>
          <p:nvPr>
            <p:ph type="ftr" sz="quarter" idx="11"/>
          </p:nvPr>
        </p:nvSpPr>
        <p:spPr>
          <a:xfrm>
            <a:off x="1080775" y="7427994"/>
            <a:ext cx="6044245" cy="163480"/>
          </a:xfrm>
          <a:prstGeom prst="rect">
            <a:avLst/>
          </a:prstGeom>
        </p:spPr>
        <p:txBody>
          <a:bodyPr lIns="117305" tIns="58651" rIns="117305" bIns="58651"/>
          <a:lstStyle>
            <a:lvl1pPr>
              <a:defRPr/>
            </a:lvl1pPr>
          </a:lstStyle>
          <a:p>
            <a:pPr algn="l" defTabSz="1173034" fontAlgn="auto">
              <a:spcBef>
                <a:spcPts val="0"/>
              </a:spcBef>
              <a:spcAft>
                <a:spcPts val="0"/>
              </a:spcAft>
            </a:pPr>
            <a:endParaRPr lang="en-US" sz="2300" b="0" dirty="0">
              <a:solidFill>
                <a:srgbClr val="000000"/>
              </a:solidFill>
              <a:latin typeface="Arial"/>
            </a:endParaRPr>
          </a:p>
        </p:txBody>
      </p:sp>
    </p:spTree>
    <p:extLst>
      <p:ext uri="{BB962C8B-B14F-4D97-AF65-F5344CB8AC3E}">
        <p14:creationId xmlns:p14="http://schemas.microsoft.com/office/powerpoint/2010/main" val="161580253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69493" y="396796"/>
            <a:ext cx="907057" cy="6867710"/>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67658" y="396796"/>
            <a:ext cx="10293662" cy="68677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5CA88710-878A-4A9B-8A0D-63B45F4EDAA4}" type="slidenum">
              <a:rPr lang="en-US">
                <a:solidFill>
                  <a:srgbClr val="002776"/>
                </a:solidFill>
              </a:rPr>
              <a:pPr/>
              <a:t>‹#›</a:t>
            </a:fld>
            <a:endParaRPr lang="en-US" dirty="0">
              <a:solidFill>
                <a:srgbClr val="002776"/>
              </a:solidFill>
            </a:endParaRPr>
          </a:p>
        </p:txBody>
      </p:sp>
      <p:sp>
        <p:nvSpPr>
          <p:cNvPr id="5" name="Footer Placeholder 4"/>
          <p:cNvSpPr>
            <a:spLocks noGrp="1"/>
          </p:cNvSpPr>
          <p:nvPr>
            <p:ph type="ftr" sz="quarter" idx="11"/>
          </p:nvPr>
        </p:nvSpPr>
        <p:spPr>
          <a:xfrm>
            <a:off x="1080775" y="7427994"/>
            <a:ext cx="6044245" cy="163480"/>
          </a:xfrm>
          <a:prstGeom prst="rect">
            <a:avLst/>
          </a:prstGeom>
        </p:spPr>
        <p:txBody>
          <a:bodyPr lIns="117305" tIns="58651" rIns="117305" bIns="58651"/>
          <a:lstStyle>
            <a:lvl1pPr>
              <a:defRPr/>
            </a:lvl1pPr>
          </a:lstStyle>
          <a:p>
            <a:pPr algn="l" defTabSz="1173034" fontAlgn="auto">
              <a:spcBef>
                <a:spcPts val="0"/>
              </a:spcBef>
              <a:spcAft>
                <a:spcPts val="0"/>
              </a:spcAft>
            </a:pPr>
            <a:endParaRPr lang="en-US" sz="2300" b="0" dirty="0">
              <a:solidFill>
                <a:srgbClr val="000000"/>
              </a:solidFill>
              <a:latin typeface="Arial"/>
            </a:endParaRPr>
          </a:p>
        </p:txBody>
      </p:sp>
    </p:spTree>
    <p:extLst>
      <p:ext uri="{BB962C8B-B14F-4D97-AF65-F5344CB8AC3E}">
        <p14:creationId xmlns:p14="http://schemas.microsoft.com/office/powerpoint/2010/main" val="387967722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576094"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3034"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1pPr>
            <a:lvl2pPr marR="0" algn="l" defTabSz="1173034"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3034"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3pPr>
            <a:lvl4pPr marR="0" algn="l" defTabSz="1173034"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3034"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mn-lt"/>
                <a:ea typeface="+mn-ea"/>
                <a:cs typeface="Arial" pitchFamily="34" charset="0"/>
              </a:defRPr>
            </a:lvl5pPr>
            <a:lvl6pPr>
              <a:tabLst>
                <a:tab pos="4989478"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8"/>
          <p:cNvSpPr>
            <a:spLocks noGrp="1"/>
          </p:cNvSpPr>
          <p:nvPr>
            <p:ph type="body" sz="quarter" idx="13"/>
          </p:nvPr>
        </p:nvSpPr>
        <p:spPr bwMode="gray">
          <a:xfrm>
            <a:off x="580076" y="883402"/>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1173034"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6" name="Title Placeholder 10"/>
          <p:cNvSpPr>
            <a:spLocks noGrp="1"/>
          </p:cNvSpPr>
          <p:nvPr>
            <p:ph type="title"/>
          </p:nvPr>
        </p:nvSpPr>
        <p:spPr bwMode="gray">
          <a:xfrm>
            <a:off x="580076" y="495611"/>
            <a:ext cx="11662258" cy="387798"/>
          </a:xfrm>
          <a:prstGeom prst="rect">
            <a:avLst/>
          </a:prstGeom>
        </p:spPr>
        <p:txBody>
          <a:bodyPr lIns="0" tIns="0" rIns="0" bIns="0" anchor="b" anchorCtr="0">
            <a:spAutoFit/>
          </a:bodyPr>
          <a:lstStyle/>
          <a:p>
            <a:pPr marL="0" marR="0" lvl="0" indent="0" algn="l" defTabSz="1173034"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7" name="Content Placeholder 20"/>
          <p:cNvSpPr>
            <a:spLocks noGrp="1"/>
          </p:cNvSpPr>
          <p:nvPr>
            <p:ph sz="quarter" idx="14"/>
          </p:nvPr>
        </p:nvSpPr>
        <p:spPr bwMode="gray">
          <a:xfrm>
            <a:off x="6614183"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3034"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1pPr>
            <a:lvl2pPr marR="0" algn="l" defTabSz="1173034"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3034"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3pPr>
            <a:lvl4pPr marR="0" algn="l" defTabSz="1173034"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3034"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mn-lt"/>
                <a:ea typeface="+mn-ea"/>
                <a:cs typeface="Arial" pitchFamily="34" charset="0"/>
              </a:defRPr>
            </a:lvl5pPr>
            <a:lvl6pPr>
              <a:tabLst>
                <a:tab pos="4989478"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26937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20835" name="Title Placeholder 1"/>
          <p:cNvSpPr>
            <a:spLocks noGrp="1"/>
          </p:cNvSpPr>
          <p:nvPr>
            <p:ph type="ctrTitle"/>
          </p:nvPr>
        </p:nvSpPr>
        <p:spPr>
          <a:xfrm>
            <a:off x="1600020" y="3271170"/>
            <a:ext cx="5595776" cy="1900652"/>
          </a:xfrm>
        </p:spPr>
        <p:txBody>
          <a:bodyPr/>
          <a:lstStyle>
            <a:lvl1pPr>
              <a:lnSpc>
                <a:spcPts val="3214"/>
              </a:lnSpc>
              <a:defRPr sz="32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a:xfrm>
            <a:off x="569678" y="6832853"/>
            <a:ext cx="6636146" cy="344417"/>
          </a:xfrm>
        </p:spPr>
        <p:txBody>
          <a:bodyPr/>
          <a:lstStyle>
            <a:lvl1pPr marL="0" indent="0">
              <a:lnSpc>
                <a:spcPts val="2564"/>
              </a:lnSpc>
              <a:defRPr sz="2100" b="1" smtClean="0">
                <a:latin typeface="+mn-lt"/>
                <a:cs typeface="Andalus" pitchFamily="2" charset="-78"/>
              </a:defRPr>
            </a:lvl1pPr>
          </a:lstStyle>
          <a:p>
            <a:r>
              <a:rPr lang="en-US" noProof="0" smtClean="0"/>
              <a:t>Click to edit Master subtitle style</a:t>
            </a:r>
            <a:endParaRPr lang="en-US" noProof="0" dirty="0" smtClean="0"/>
          </a:p>
        </p:txBody>
      </p:sp>
    </p:spTree>
    <p:extLst>
      <p:ext uri="{BB962C8B-B14F-4D97-AF65-F5344CB8AC3E}">
        <p14:creationId xmlns:p14="http://schemas.microsoft.com/office/powerpoint/2010/main" val="4167282733"/>
      </p:ext>
    </p:extLst>
  </p:cSld>
  <p:clrMapOvr>
    <a:masterClrMapping/>
  </p:clrMapOvr>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89808792"/>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Picture Divider">
    <p:spTree>
      <p:nvGrpSpPr>
        <p:cNvPr id="1" name=""/>
        <p:cNvGrpSpPr/>
        <p:nvPr/>
      </p:nvGrpSpPr>
      <p:grpSpPr>
        <a:xfrm>
          <a:off x="0" y="0"/>
          <a:ext cx="0" cy="0"/>
          <a:chOff x="0" y="0"/>
          <a:chExt cx="0" cy="0"/>
        </a:xfrm>
      </p:grpSpPr>
      <p:sp>
        <p:nvSpPr>
          <p:cNvPr id="2" name="Title 1"/>
          <p:cNvSpPr>
            <a:spLocks noGrp="1"/>
          </p:cNvSpPr>
          <p:nvPr>
            <p:ph type="title"/>
          </p:nvPr>
        </p:nvSpPr>
        <p:spPr>
          <a:xfrm>
            <a:off x="571701" y="3243394"/>
            <a:ext cx="5744693" cy="489500"/>
          </a:xfrm>
        </p:spPr>
        <p:txBody>
          <a:bodyPr/>
          <a:lstStyle>
            <a:lvl1pPr>
              <a:defRPr sz="3200"/>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34E12065-4B93-48D6-8A5B-D752033C0FE7}" type="slidenum">
              <a:rPr lang="en-US">
                <a:solidFill>
                  <a:srgbClr val="002776"/>
                </a:solidFill>
              </a:rPr>
              <a:pPr/>
              <a:t>‹#›</a:t>
            </a:fld>
            <a:endParaRPr lang="en-US" dirty="0">
              <a:solidFill>
                <a:srgbClr val="002776"/>
              </a:solidFill>
            </a:endParaRPr>
          </a:p>
        </p:txBody>
      </p:sp>
      <p:sp>
        <p:nvSpPr>
          <p:cNvPr id="5" name="Footer Placeholder 10"/>
          <p:cNvSpPr>
            <a:spLocks noGrp="1"/>
          </p:cNvSpPr>
          <p:nvPr>
            <p:ph type="ftr" sz="quarter" idx="3"/>
          </p:nvPr>
        </p:nvSpPr>
        <p:spPr>
          <a:xfrm>
            <a:off x="1080782" y="7427017"/>
            <a:ext cx="6044245" cy="163480"/>
          </a:xfrm>
          <a:prstGeom prst="rect">
            <a:avLst/>
          </a:prstGeom>
        </p:spPr>
        <p:txBody>
          <a:bodyPr vert="horz" wrap="square" lIns="0" tIns="0" rIns="0" bIns="0" numCol="1" anchor="t" anchorCtr="0" compatLnSpc="1">
            <a:prstTxWarp prst="textNoShape">
              <a:avLst/>
            </a:prstTxWarp>
            <a:noAutofit/>
          </a:bodyPr>
          <a:lstStyle>
            <a:lvl1pPr>
              <a:lnSpc>
                <a:spcPts val="1385"/>
              </a:lnSpc>
              <a:defRPr sz="1200">
                <a:solidFill>
                  <a:schemeClr val="tx2"/>
                </a:solidFill>
              </a:defRPr>
            </a:lvl1pPr>
          </a:lstStyle>
          <a:p>
            <a:pPr algn="l" defTabSz="1168361" fontAlgn="auto">
              <a:spcBef>
                <a:spcPts val="0"/>
              </a:spcBef>
              <a:spcAft>
                <a:spcPts val="0"/>
              </a:spcAft>
            </a:pPr>
            <a:endParaRPr lang="en-GB" b="0" dirty="0">
              <a:solidFill>
                <a:srgbClr val="002776"/>
              </a:solidFill>
              <a:latin typeface="Arial"/>
            </a:endParaRPr>
          </a:p>
        </p:txBody>
      </p:sp>
    </p:spTree>
    <p:extLst>
      <p:ext uri="{BB962C8B-B14F-4D97-AF65-F5344CB8AC3E}">
        <p14:creationId xmlns:p14="http://schemas.microsoft.com/office/powerpoint/2010/main" val="419521581"/>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itle" preserve="1">
  <p:cSld name="Section Divider ">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599950" y="3026770"/>
            <a:ext cx="8557294" cy="1279264"/>
          </a:xfrm>
        </p:spPr>
        <p:txBody>
          <a:bodyPr/>
          <a:lstStyle>
            <a:lvl1pPr>
              <a:lnSpc>
                <a:spcPts val="5997"/>
              </a:lnSpc>
              <a:defRPr sz="6000" b="0">
                <a:solidFill>
                  <a:schemeClr val="bg2"/>
                </a:solidFill>
                <a:latin typeface="Times New Roman" pitchFamily="18"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19035147"/>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67695" y="1349103"/>
            <a:ext cx="5797791" cy="5915404"/>
          </a:xfrm>
        </p:spPr>
        <p:txBody>
          <a:bodyPr/>
          <a:lstStyle>
            <a:lvl1pPr>
              <a:defRPr sz="2300"/>
            </a:lvl1pPr>
            <a:lvl2pPr>
              <a:defRPr sz="2300"/>
            </a:lvl2pPr>
            <a:lvl3pPr>
              <a:defRPr sz="2300"/>
            </a:lvl3pPr>
            <a:lvl4pPr>
              <a:defRPr sz="21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559448" y="1349103"/>
            <a:ext cx="5799809" cy="5915404"/>
          </a:xfrm>
        </p:spPr>
        <p:txBody>
          <a:bodyPr/>
          <a:lstStyle>
            <a:lvl1pPr>
              <a:defRPr sz="2300"/>
            </a:lvl1pPr>
            <a:lvl2pPr>
              <a:defRPr sz="2300"/>
            </a:lvl2pPr>
            <a:lvl3pPr>
              <a:defRPr sz="2300"/>
            </a:lvl3pPr>
            <a:lvl4pPr>
              <a:defRPr sz="21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p:cNvSpPr>
          <p:nvPr>
            <p:ph type="sldNum" sz="quarter" idx="10"/>
          </p:nvPr>
        </p:nvSpPr>
        <p:spPr/>
        <p:txBody>
          <a:bodyPr/>
          <a:lstStyle>
            <a:lvl1pPr>
              <a:defRPr/>
            </a:lvl1pPr>
          </a:lstStyle>
          <a:p>
            <a:fld id="{D8FFA96A-D5A7-4DE1-BC0A-C3244EE05AA5}" type="slidenum">
              <a:rPr lang="en-US">
                <a:solidFill>
                  <a:srgbClr val="002776"/>
                </a:solidFill>
              </a:rPr>
              <a:pPr/>
              <a:t>‹#›</a:t>
            </a:fld>
            <a:endParaRPr lang="en-US" dirty="0">
              <a:solidFill>
                <a:srgbClr val="002776"/>
              </a:solidFill>
            </a:endParaRPr>
          </a:p>
        </p:txBody>
      </p:sp>
      <p:sp>
        <p:nvSpPr>
          <p:cNvPr id="7" name="Footer Placeholder 10"/>
          <p:cNvSpPr>
            <a:spLocks noGrp="1"/>
          </p:cNvSpPr>
          <p:nvPr>
            <p:ph type="ftr" sz="quarter" idx="3"/>
          </p:nvPr>
        </p:nvSpPr>
        <p:spPr>
          <a:xfrm>
            <a:off x="1080782" y="7428045"/>
            <a:ext cx="6044245" cy="163480"/>
          </a:xfrm>
          <a:prstGeom prst="rect">
            <a:avLst/>
          </a:prstGeom>
        </p:spPr>
        <p:txBody>
          <a:bodyPr vert="horz" wrap="square" lIns="0" tIns="0" rIns="0" bIns="0" numCol="1" anchor="t" anchorCtr="0" compatLnSpc="1">
            <a:prstTxWarp prst="textNoShape">
              <a:avLst/>
            </a:prstTxWarp>
            <a:noAutofit/>
          </a:bodyPr>
          <a:lstStyle>
            <a:lvl1pPr>
              <a:lnSpc>
                <a:spcPts val="1385"/>
              </a:lnSpc>
              <a:defRPr sz="1200">
                <a:solidFill>
                  <a:schemeClr val="tx2"/>
                </a:solidFill>
              </a:defRPr>
            </a:lvl1pPr>
          </a:lstStyle>
          <a:p>
            <a:pPr algn="l" defTabSz="1168361" fontAlgn="auto">
              <a:spcBef>
                <a:spcPts val="0"/>
              </a:spcBef>
              <a:spcAft>
                <a:spcPts val="0"/>
              </a:spcAft>
            </a:pPr>
            <a:endParaRPr lang="en-GB" b="0" dirty="0">
              <a:solidFill>
                <a:srgbClr val="002776"/>
              </a:solidFill>
              <a:latin typeface="Arial"/>
            </a:endParaRPr>
          </a:p>
        </p:txBody>
      </p:sp>
    </p:spTree>
    <p:extLst>
      <p:ext uri="{BB962C8B-B14F-4D97-AF65-F5344CB8AC3E}">
        <p14:creationId xmlns:p14="http://schemas.microsoft.com/office/powerpoint/2010/main" val="140858533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600202" y="3365911"/>
            <a:ext cx="5758498" cy="470898"/>
          </a:xfrm>
          <a:prstGeom prst="rect">
            <a:avLst/>
          </a:prstGeom>
        </p:spPr>
        <p:txBody>
          <a:bodyPr anchor="b" anchorCtr="0">
            <a:spAutoFit/>
          </a:bodyPr>
          <a:lstStyle>
            <a:lvl1pPr>
              <a:lnSpc>
                <a:spcPct val="85000"/>
              </a:lnSpc>
              <a:defRPr sz="3600" b="0" smtClean="0">
                <a:latin typeface="Calibri" pitchFamily="34" charset="0"/>
              </a:defRPr>
            </a:lvl1pPr>
          </a:lstStyle>
          <a:p>
            <a:r>
              <a:rPr lang="en-US" dirty="0" smtClean="0"/>
              <a:t>Click to edit Master title style</a:t>
            </a:r>
          </a:p>
        </p:txBody>
      </p:sp>
      <p:sp>
        <p:nvSpPr>
          <p:cNvPr id="120836" name="Text Placeholder 2"/>
          <p:cNvSpPr>
            <a:spLocks noGrp="1"/>
          </p:cNvSpPr>
          <p:nvPr>
            <p:ph type="subTitle" idx="1"/>
          </p:nvPr>
        </p:nvSpPr>
        <p:spPr bwMode="gray">
          <a:xfrm>
            <a:off x="1600202" y="4181276"/>
            <a:ext cx="5758498" cy="353943"/>
          </a:xfrm>
          <a:prstGeom prst="rect">
            <a:avLst/>
          </a:prstGeom>
        </p:spPr>
        <p:txBody>
          <a:bodyPr>
            <a:spAutoFit/>
          </a:bodyPr>
          <a:lstStyle>
            <a:lvl1pPr>
              <a:lnSpc>
                <a:spcPct val="100000"/>
              </a:lnSpc>
              <a:defRPr sz="2300" b="1" smtClean="0">
                <a:latin typeface="Calibri" pitchFamily="34" charset="0"/>
              </a:defRPr>
            </a:lvl1pPr>
          </a:lstStyle>
          <a:p>
            <a:r>
              <a:rPr lang="en-US" dirty="0" smtClean="0"/>
              <a:t>Click to edit Master subtitle style</a:t>
            </a:r>
            <a:endParaRPr dirty="0" smtClean="0"/>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566738" y="343642"/>
            <a:ext cx="2291397" cy="349038"/>
          </a:xfrm>
          <a:prstGeom prst="rect">
            <a:avLst/>
          </a:prstGeom>
          <a:noFill/>
        </p:spPr>
      </p:pic>
    </p:spTree>
    <p:extLst>
      <p:ext uri="{BB962C8B-B14F-4D97-AF65-F5344CB8AC3E}">
        <p14:creationId xmlns:p14="http://schemas.microsoft.com/office/powerpoint/2010/main" val="1110339059"/>
      </p:ext>
    </p:extLst>
  </p:cSld>
  <p:clrMapOvr>
    <a:masterClrMapping/>
  </p:clrMapOvr>
  <p:transition/>
  <p:hf hdr="0" dt="0"/>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AEB0F4D5-BD91-4FCA-AE42-3932305F8AA9}" type="slidenum">
              <a:rPr lang="en-US">
                <a:solidFill>
                  <a:srgbClr val="002776"/>
                </a:solidFill>
              </a:rPr>
              <a:pPr/>
              <a:t>‹#›</a:t>
            </a:fld>
            <a:endParaRPr lang="en-US" dirty="0">
              <a:solidFill>
                <a:srgbClr val="002776"/>
              </a:solidFill>
            </a:endParaRPr>
          </a:p>
        </p:txBody>
      </p:sp>
      <p:sp>
        <p:nvSpPr>
          <p:cNvPr id="5" name="Footer Placeholder 10"/>
          <p:cNvSpPr>
            <a:spLocks noGrp="1"/>
          </p:cNvSpPr>
          <p:nvPr>
            <p:ph type="ftr" sz="quarter" idx="3"/>
          </p:nvPr>
        </p:nvSpPr>
        <p:spPr>
          <a:xfrm>
            <a:off x="1080782" y="7428045"/>
            <a:ext cx="6044245" cy="163480"/>
          </a:xfrm>
          <a:prstGeom prst="rect">
            <a:avLst/>
          </a:prstGeom>
        </p:spPr>
        <p:txBody>
          <a:bodyPr vert="horz" wrap="square" lIns="0" tIns="0" rIns="0" bIns="0" numCol="1" anchor="t" anchorCtr="0" compatLnSpc="1">
            <a:prstTxWarp prst="textNoShape">
              <a:avLst/>
            </a:prstTxWarp>
            <a:noAutofit/>
          </a:bodyPr>
          <a:lstStyle>
            <a:lvl1pPr>
              <a:lnSpc>
                <a:spcPts val="1385"/>
              </a:lnSpc>
              <a:defRPr sz="1200">
                <a:solidFill>
                  <a:schemeClr val="tx2"/>
                </a:solidFill>
              </a:defRPr>
            </a:lvl1pPr>
          </a:lstStyle>
          <a:p>
            <a:pPr algn="l" defTabSz="1168361" fontAlgn="auto">
              <a:spcBef>
                <a:spcPts val="0"/>
              </a:spcBef>
              <a:spcAft>
                <a:spcPts val="0"/>
              </a:spcAft>
            </a:pPr>
            <a:endParaRPr lang="en-GB" b="0" dirty="0">
              <a:solidFill>
                <a:srgbClr val="002776"/>
              </a:solidFill>
              <a:latin typeface="Arial"/>
            </a:endParaRPr>
          </a:p>
        </p:txBody>
      </p:sp>
    </p:spTree>
    <p:extLst>
      <p:ext uri="{BB962C8B-B14F-4D97-AF65-F5344CB8AC3E}">
        <p14:creationId xmlns:p14="http://schemas.microsoft.com/office/powerpoint/2010/main" val="4278816162"/>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E329EB4B-1393-4D9C-8DD8-C52DFD9C0516}" type="slidenum">
              <a:rPr lang="en-US">
                <a:solidFill>
                  <a:srgbClr val="002776"/>
                </a:solidFill>
              </a:rPr>
              <a:pPr/>
              <a:t>‹#›</a:t>
            </a:fld>
            <a:endParaRPr lang="en-US" dirty="0">
              <a:solidFill>
                <a:srgbClr val="002776"/>
              </a:solidFill>
            </a:endParaRPr>
          </a:p>
        </p:txBody>
      </p:sp>
      <p:sp>
        <p:nvSpPr>
          <p:cNvPr id="4" name="Footer Placeholder 10"/>
          <p:cNvSpPr>
            <a:spLocks noGrp="1"/>
          </p:cNvSpPr>
          <p:nvPr>
            <p:ph type="ftr" sz="quarter" idx="3"/>
          </p:nvPr>
        </p:nvSpPr>
        <p:spPr>
          <a:xfrm>
            <a:off x="1080782" y="7428045"/>
            <a:ext cx="6044245" cy="163480"/>
          </a:xfrm>
          <a:prstGeom prst="rect">
            <a:avLst/>
          </a:prstGeom>
        </p:spPr>
        <p:txBody>
          <a:bodyPr vert="horz" wrap="square" lIns="0" tIns="0" rIns="0" bIns="0" numCol="1" anchor="t" anchorCtr="0" compatLnSpc="1">
            <a:prstTxWarp prst="textNoShape">
              <a:avLst/>
            </a:prstTxWarp>
            <a:noAutofit/>
          </a:bodyPr>
          <a:lstStyle>
            <a:lvl1pPr>
              <a:lnSpc>
                <a:spcPts val="1385"/>
              </a:lnSpc>
              <a:defRPr sz="1200">
                <a:solidFill>
                  <a:schemeClr val="tx2"/>
                </a:solidFill>
              </a:defRPr>
            </a:lvl1pPr>
          </a:lstStyle>
          <a:p>
            <a:pPr algn="l" defTabSz="1168361" fontAlgn="auto">
              <a:spcBef>
                <a:spcPts val="0"/>
              </a:spcBef>
              <a:spcAft>
                <a:spcPts val="0"/>
              </a:spcAft>
            </a:pPr>
            <a:endParaRPr lang="en-GB" b="0" dirty="0">
              <a:solidFill>
                <a:srgbClr val="002776"/>
              </a:solidFill>
              <a:latin typeface="Arial"/>
            </a:endParaRPr>
          </a:p>
        </p:txBody>
      </p:sp>
    </p:spTree>
    <p:extLst>
      <p:ext uri="{BB962C8B-B14F-4D97-AF65-F5344CB8AC3E}">
        <p14:creationId xmlns:p14="http://schemas.microsoft.com/office/powerpoint/2010/main" val="374603659"/>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Table Placeholder 5"/>
          <p:cNvSpPr>
            <a:spLocks noGrp="1"/>
          </p:cNvSpPr>
          <p:nvPr>
            <p:ph type="tbl" sz="quarter" idx="12"/>
          </p:nvPr>
        </p:nvSpPr>
        <p:spPr>
          <a:xfrm>
            <a:off x="568061" y="1476076"/>
            <a:ext cx="11791738" cy="5659120"/>
          </a:xfrm>
          <a:noFill/>
          <a:ln>
            <a:solidFill>
              <a:schemeClr val="tx2"/>
            </a:solidFill>
          </a:ln>
        </p:spPr>
        <p:txBody>
          <a:bodyPr/>
          <a:lstStyle/>
          <a:p>
            <a:pPr lvl="0"/>
            <a:r>
              <a:rPr lang="en-US" noProof="0" dirty="0" smtClean="0"/>
              <a:t>Click icon to add table</a:t>
            </a:r>
            <a:endParaRPr lang="en-US" noProof="0" dirty="0"/>
          </a:p>
        </p:txBody>
      </p:sp>
      <p:sp>
        <p:nvSpPr>
          <p:cNvPr id="4" name="Slide Number Placeholder 2"/>
          <p:cNvSpPr>
            <a:spLocks noGrp="1"/>
          </p:cNvSpPr>
          <p:nvPr>
            <p:ph type="sldNum" sz="quarter" idx="13"/>
          </p:nvPr>
        </p:nvSpPr>
        <p:spPr/>
        <p:txBody>
          <a:bodyPr/>
          <a:lstStyle>
            <a:lvl1pPr>
              <a:defRPr/>
            </a:lvl1pPr>
          </a:lstStyle>
          <a:p>
            <a:fld id="{751D9631-F9E9-4DC6-B7E6-693A66A7964B}" type="slidenum">
              <a:rPr lang="en-GB">
                <a:solidFill>
                  <a:srgbClr val="002776"/>
                </a:solidFill>
              </a:rPr>
              <a:pPr/>
              <a:t>‹#›</a:t>
            </a:fld>
            <a:endParaRPr lang="en-GB" dirty="0">
              <a:solidFill>
                <a:srgbClr val="002776"/>
              </a:solidFill>
            </a:endParaRPr>
          </a:p>
        </p:txBody>
      </p:sp>
      <p:sp>
        <p:nvSpPr>
          <p:cNvPr id="5" name="Footer Placeholder 3"/>
          <p:cNvSpPr>
            <a:spLocks noGrp="1"/>
          </p:cNvSpPr>
          <p:nvPr>
            <p:ph type="ftr" sz="quarter" idx="14"/>
          </p:nvPr>
        </p:nvSpPr>
        <p:spPr>
          <a:xfrm>
            <a:off x="1080782" y="7428045"/>
            <a:ext cx="6044245" cy="163480"/>
          </a:xfrm>
          <a:prstGeom prst="rect">
            <a:avLst/>
          </a:prstGeom>
        </p:spPr>
        <p:txBody>
          <a:bodyPr lIns="116838" tIns="58418" rIns="116838" bIns="58418"/>
          <a:lstStyle>
            <a:lvl1pPr>
              <a:defRPr/>
            </a:lvl1pPr>
          </a:lstStyle>
          <a:p>
            <a:pPr algn="l" defTabSz="1168361" fontAlgn="auto">
              <a:spcBef>
                <a:spcPts val="0"/>
              </a:spcBef>
              <a:spcAft>
                <a:spcPts val="0"/>
              </a:spcAft>
            </a:pPr>
            <a:endParaRPr lang="en-GB" sz="2300" b="0" dirty="0">
              <a:solidFill>
                <a:srgbClr val="000000"/>
              </a:solidFill>
              <a:latin typeface="Arial"/>
            </a:endParaRPr>
          </a:p>
        </p:txBody>
      </p:sp>
    </p:spTree>
    <p:extLst>
      <p:ext uri="{BB962C8B-B14F-4D97-AF65-F5344CB8AC3E}">
        <p14:creationId xmlns:p14="http://schemas.microsoft.com/office/powerpoint/2010/main" val="338488902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C731D5CD-A07D-4B8A-9609-3D6D60AC6B28}" type="slidenum">
              <a:rPr lang="en-US">
                <a:solidFill>
                  <a:srgbClr val="002776"/>
                </a:solidFill>
              </a:rPr>
              <a:pPr/>
              <a:t>‹#›</a:t>
            </a:fld>
            <a:endParaRPr lang="en-US" dirty="0">
              <a:solidFill>
                <a:srgbClr val="002776"/>
              </a:solidFill>
            </a:endParaRPr>
          </a:p>
        </p:txBody>
      </p:sp>
      <p:sp>
        <p:nvSpPr>
          <p:cNvPr id="5" name="Footer Placeholder 4"/>
          <p:cNvSpPr>
            <a:spLocks noGrp="1"/>
          </p:cNvSpPr>
          <p:nvPr>
            <p:ph type="ftr" sz="quarter" idx="11"/>
          </p:nvPr>
        </p:nvSpPr>
        <p:spPr>
          <a:xfrm>
            <a:off x="1080782" y="7428045"/>
            <a:ext cx="6044245" cy="163480"/>
          </a:xfrm>
          <a:prstGeom prst="rect">
            <a:avLst/>
          </a:prstGeom>
        </p:spPr>
        <p:txBody>
          <a:bodyPr lIns="116838" tIns="58418" rIns="116838" bIns="58418"/>
          <a:lstStyle>
            <a:lvl1pPr>
              <a:defRPr/>
            </a:lvl1pPr>
          </a:lstStyle>
          <a:p>
            <a:pPr algn="l" defTabSz="1168361" fontAlgn="auto">
              <a:spcBef>
                <a:spcPts val="0"/>
              </a:spcBef>
              <a:spcAft>
                <a:spcPts val="0"/>
              </a:spcAft>
            </a:pPr>
            <a:endParaRPr lang="en-US" sz="2300" b="0" dirty="0">
              <a:solidFill>
                <a:srgbClr val="000000"/>
              </a:solidFill>
              <a:latin typeface="Arial"/>
            </a:endParaRPr>
          </a:p>
        </p:txBody>
      </p:sp>
    </p:spTree>
    <p:extLst>
      <p:ext uri="{BB962C8B-B14F-4D97-AF65-F5344CB8AC3E}">
        <p14:creationId xmlns:p14="http://schemas.microsoft.com/office/powerpoint/2010/main" val="206263781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69496" y="396807"/>
            <a:ext cx="907057" cy="6867710"/>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67669" y="396807"/>
            <a:ext cx="10293662" cy="68677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5CA88710-878A-4A9B-8A0D-63B45F4EDAA4}" type="slidenum">
              <a:rPr lang="en-US">
                <a:solidFill>
                  <a:srgbClr val="002776"/>
                </a:solidFill>
              </a:rPr>
              <a:pPr/>
              <a:t>‹#›</a:t>
            </a:fld>
            <a:endParaRPr lang="en-US" dirty="0">
              <a:solidFill>
                <a:srgbClr val="002776"/>
              </a:solidFill>
            </a:endParaRPr>
          </a:p>
        </p:txBody>
      </p:sp>
      <p:sp>
        <p:nvSpPr>
          <p:cNvPr id="5" name="Footer Placeholder 4"/>
          <p:cNvSpPr>
            <a:spLocks noGrp="1"/>
          </p:cNvSpPr>
          <p:nvPr>
            <p:ph type="ftr" sz="quarter" idx="11"/>
          </p:nvPr>
        </p:nvSpPr>
        <p:spPr>
          <a:xfrm>
            <a:off x="1080782" y="7428045"/>
            <a:ext cx="6044245" cy="163480"/>
          </a:xfrm>
          <a:prstGeom prst="rect">
            <a:avLst/>
          </a:prstGeom>
        </p:spPr>
        <p:txBody>
          <a:bodyPr lIns="116838" tIns="58418" rIns="116838" bIns="58418"/>
          <a:lstStyle>
            <a:lvl1pPr>
              <a:defRPr/>
            </a:lvl1pPr>
          </a:lstStyle>
          <a:p>
            <a:pPr algn="l" defTabSz="1168361" fontAlgn="auto">
              <a:spcBef>
                <a:spcPts val="0"/>
              </a:spcBef>
              <a:spcAft>
                <a:spcPts val="0"/>
              </a:spcAft>
            </a:pPr>
            <a:endParaRPr lang="en-US" sz="2300" b="0" dirty="0">
              <a:solidFill>
                <a:srgbClr val="000000"/>
              </a:solidFill>
              <a:latin typeface="Arial"/>
            </a:endParaRPr>
          </a:p>
        </p:txBody>
      </p:sp>
    </p:spTree>
    <p:extLst>
      <p:ext uri="{BB962C8B-B14F-4D97-AF65-F5344CB8AC3E}">
        <p14:creationId xmlns:p14="http://schemas.microsoft.com/office/powerpoint/2010/main" val="59509890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9" y="1585570"/>
            <a:ext cx="11662258" cy="5539130"/>
          </a:xfrm>
          <a:prstGeom prst="rect">
            <a:avLst/>
          </a:prstGeom>
        </p:spPr>
        <p:txBody>
          <a:bodyPr vert="horz" lIns="0" tIns="0" rIns="0" bIns="0" rtlCol="0">
            <a:noAutofit/>
          </a:bodyPr>
          <a:lstStyle>
            <a:lvl1pPr marL="0" marR="0" indent="0" algn="l" defTabSz="1169861" rtl="0" eaLnBrk="1" fontAlgn="base" latinLnBrk="0" hangingPunct="1">
              <a:lnSpc>
                <a:spcPct val="100000"/>
              </a:lnSpc>
              <a:spcBef>
                <a:spcPts val="2829"/>
              </a:spcBef>
              <a:spcAft>
                <a:spcPct val="0"/>
              </a:spcAft>
              <a:buClrTx/>
              <a:buSzTx/>
              <a:buFont typeface="Arial" pitchFamily="34" charset="0"/>
              <a:buNone/>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1pPr>
            <a:lvl2pPr marL="223410" marR="0" indent="-221387" algn="l" defTabSz="1169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2pPr>
            <a:lvl3pPr marR="0" algn="l" defTabSz="1169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69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4pPr>
            <a:lvl5pPr marR="0" algn="l" defTabSz="1169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5pPr>
            <a:lvl6pPr marR="0" algn="l" defTabSz="1169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580097" y="883419"/>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1169861"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580097" y="467914"/>
            <a:ext cx="11662258" cy="415498"/>
          </a:xfrm>
          <a:prstGeom prst="rect">
            <a:avLst/>
          </a:prstGeom>
        </p:spPr>
        <p:txBody>
          <a:bodyPr lIns="0" tIns="0" rIns="0" bIns="0" anchor="b" anchorCtr="0">
            <a:spAutoFit/>
          </a:bodyPr>
          <a:lstStyle/>
          <a:p>
            <a:pPr marL="0" marR="0" lvl="0" indent="0" algn="l" defTabSz="1169861"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3659309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600202" y="3365911"/>
            <a:ext cx="5758498" cy="470898"/>
          </a:xfrm>
          <a:prstGeom prst="rect">
            <a:avLst/>
          </a:prstGeom>
        </p:spPr>
        <p:txBody>
          <a:bodyPr anchor="b" anchorCtr="0">
            <a:spAutoFit/>
          </a:bodyPr>
          <a:lstStyle>
            <a:lvl1pPr>
              <a:lnSpc>
                <a:spcPct val="85000"/>
              </a:lnSpc>
              <a:defRPr sz="36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600202" y="4181265"/>
            <a:ext cx="5758498" cy="353943"/>
          </a:xfrm>
          <a:prstGeom prst="rect">
            <a:avLst/>
          </a:prstGeom>
        </p:spPr>
        <p:txBody>
          <a:bodyPr>
            <a:spAutoFit/>
          </a:bodyPr>
          <a:lstStyle>
            <a:lvl1pPr>
              <a:lnSpc>
                <a:spcPct val="100000"/>
              </a:lnSpc>
              <a:defRPr sz="2300" b="1" smtClean="0">
                <a:latin typeface="Arial" pitchFamily="34" charset="0"/>
              </a:defRPr>
            </a:lvl1pPr>
          </a:lstStyle>
          <a:p>
            <a:r>
              <a:rPr lang="en-US" smtClean="0"/>
              <a:t>Click to edit Master subtitle style</a:t>
            </a:r>
            <a:endParaRPr smtClean="0"/>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566738" y="343642"/>
            <a:ext cx="2291397" cy="349038"/>
          </a:xfrm>
          <a:prstGeom prst="rect">
            <a:avLst/>
          </a:prstGeom>
          <a:noFill/>
        </p:spPr>
      </p:pic>
    </p:spTree>
    <p:extLst>
      <p:ext uri="{BB962C8B-B14F-4D97-AF65-F5344CB8AC3E}">
        <p14:creationId xmlns:p14="http://schemas.microsoft.com/office/powerpoint/2010/main" val="4034025763"/>
      </p:ext>
    </p:extLst>
  </p:cSld>
  <p:clrMapOvr>
    <a:masterClrMapping/>
  </p:clrMapOvr>
  <p:transition/>
  <p:timing>
    <p:tnLst>
      <p:par>
        <p:cTn id="1" dur="indefinite" restart="never" nodeType="tmRoot"/>
      </p:par>
    </p:tnLst>
  </p:timing>
  <p:hf hdr="0" dt="0"/>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title" preserve="1">
  <p:cSld name="Divider">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576072" y="3030405"/>
            <a:ext cx="6055157" cy="941796"/>
          </a:xfrm>
          <a:prstGeom prst="rect">
            <a:avLst/>
          </a:prstGeom>
        </p:spPr>
        <p:txBody>
          <a:bodyPr>
            <a:spAutoFit/>
          </a:bodyPr>
          <a:lstStyle>
            <a:lvl1pPr>
              <a:lnSpc>
                <a:spcPct val="85000"/>
              </a:lnSpc>
              <a:defRPr sz="3600" b="1" smtClean="0">
                <a:latin typeface="+mj-lt"/>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576072" y="4186733"/>
            <a:ext cx="6055157" cy="400110"/>
          </a:xfrm>
          <a:prstGeom prst="rect">
            <a:avLst/>
          </a:prstGeom>
        </p:spPr>
        <p:txBody>
          <a:bodyPr>
            <a:spAutoFit/>
          </a:bodyPr>
          <a:lstStyle>
            <a:lvl1pPr>
              <a:lnSpc>
                <a:spcPct val="100000"/>
              </a:lnSpc>
              <a:defRPr sz="2600" b="0" smtClean="0">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1745265171"/>
      </p:ext>
    </p:extLst>
  </p:cSld>
  <p:clrMapOvr>
    <a:masterClrMapping/>
  </p:clrMapOvr>
  <p:transition/>
  <p:timing>
    <p:tnLst>
      <p:par>
        <p:cTn id="1" dur="indefinite" restart="never" nodeType="tmRoot"/>
      </p:par>
    </p:tnLst>
  </p:timing>
  <p:hf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3"/>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576072" y="3095805"/>
            <a:ext cx="11409871" cy="876394"/>
          </a:xfrm>
          <a:prstGeom prst="rect">
            <a:avLst/>
          </a:prstGeom>
        </p:spPr>
        <p:txBody>
          <a:bodyPr anchor="b" anchorCtr="0">
            <a:spAutoFit/>
          </a:bodyPr>
          <a:lstStyle>
            <a:lvl1pPr>
              <a:lnSpc>
                <a:spcPct val="85000"/>
              </a:lnSpc>
              <a:defRPr sz="6700" b="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auto">
          <a:xfrm>
            <a:off x="576072" y="4186733"/>
            <a:ext cx="6055157" cy="353943"/>
          </a:xfrm>
          <a:prstGeom prst="rect">
            <a:avLst/>
          </a:prstGeom>
        </p:spPr>
        <p:txBody>
          <a:bodyPr>
            <a:spAutoFit/>
          </a:bodyPr>
          <a:lstStyle>
            <a:lvl1pPr>
              <a:lnSpc>
                <a:spcPct val="100000"/>
              </a:lnSpc>
              <a:defRPr sz="2300" b="1" smtClean="0">
                <a:solidFill>
                  <a:schemeClr val="bg1"/>
                </a:solidFill>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953165101"/>
      </p:ext>
    </p:extLst>
  </p:cSld>
  <p:clrMapOvr>
    <a:masterClrMapping/>
  </p:clrMapOvr>
  <p:transition/>
  <p:timing>
    <p:tnLst>
      <p:par>
        <p:cTn id="1" dur="indefinite" restart="never" nodeType="tmRoot"/>
      </p:par>
    </p:tnLst>
  </p:timing>
  <p:hf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576073" y="1585568"/>
            <a:ext cx="5598817" cy="150297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R="0" algn="l" defTabSz="1175513" rtl="0" eaLnBrk="1" fontAlgn="base" latinLnBrk="0" hangingPunct="1">
              <a:lnSpc>
                <a:spcPct val="100000"/>
              </a:lnSpc>
              <a:spcAft>
                <a:spcPct val="0"/>
              </a:spcAft>
              <a:buFont typeface="Arial" pitchFamily="34" charset="0"/>
              <a:tabLst>
                <a:tab pos="5000014"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1175513" rtl="0" eaLnBrk="1" fontAlgn="base" latinLnBrk="0" hangingPunct="1">
              <a:lnSpc>
                <a:spcPct val="100000"/>
              </a:lnSpc>
              <a:spcAft>
                <a:spcPct val="0"/>
              </a:spcAft>
              <a:buFont typeface="Arial" pitchFamily="34" charset="0"/>
              <a:tabLst>
                <a:tab pos="5000014"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tab pos="4991850" algn="r"/>
              </a:tabLst>
              <a:defRPr kumimoji="0" lang="en-US" sz="1500" b="0" i="0" u="none" strike="noStrike" kern="1200" cap="none" normalizeH="0" baseline="0" dirty="0" smtClean="0">
                <a:ln>
                  <a:noFill/>
                </a:ln>
                <a:solidFill>
                  <a:schemeClr val="tx2"/>
                </a:solidFill>
                <a:effectLst/>
                <a:latin typeface="+mn-lt"/>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tab pos="5000014" algn="r"/>
              </a:tabLst>
              <a:defRPr kumimoji="0" lang="en-US" sz="15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tab pos="5000014" algn="r"/>
              </a:tabLst>
              <a:defRPr kumimoji="0" lang="en-US" sz="1500" b="0" i="0" u="none" strike="noStrike" kern="1200" cap="none" normalizeH="0" baseline="0" dirty="0">
                <a:ln>
                  <a:noFill/>
                </a:ln>
                <a:solidFill>
                  <a:schemeClr val="tx2"/>
                </a:solidFill>
                <a:effectLst/>
                <a:latin typeface="+mn-lt"/>
                <a:ea typeface="+mn-ea"/>
                <a:cs typeface="Arial" pitchFamily="34" charset="0"/>
              </a:defRPr>
            </a:lvl5pPr>
            <a:lvl6pPr>
              <a:tabLst>
                <a:tab pos="5000014"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56790055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576090"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3947" rtl="0" eaLnBrk="1" fontAlgn="base" latinLnBrk="0" hangingPunct="1">
              <a:lnSpc>
                <a:spcPct val="100000"/>
              </a:lnSpc>
              <a:spcAft>
                <a:spcPct val="0"/>
              </a:spcAft>
              <a:buFont typeface="Arial" pitchFamily="34" charset="0"/>
              <a:tabLst>
                <a:tab pos="4993352" algn="r"/>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3947" rtl="0" eaLnBrk="1" fontAlgn="base" latinLnBrk="0" hangingPunct="1">
              <a:lnSpc>
                <a:spcPct val="100000"/>
              </a:lnSpc>
              <a:spcAft>
                <a:spcPct val="0"/>
              </a:spcAft>
              <a:buFont typeface="Arial" pitchFamily="34" charset="0"/>
              <a:tabLst>
                <a:tab pos="4993352" algn="r"/>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3947" rtl="0" eaLnBrk="1" fontAlgn="base" latinLnBrk="0" hangingPunct="1">
              <a:lnSpc>
                <a:spcPct val="100000"/>
              </a:lnSpc>
              <a:spcAft>
                <a:spcPct val="0"/>
              </a:spcAft>
              <a:buFont typeface="Arial" pitchFamily="34" charset="0"/>
              <a:tabLst>
                <a:tab pos="4985199" algn="r"/>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3947" rtl="0" eaLnBrk="1" fontAlgn="base" latinLnBrk="0" hangingPunct="1">
              <a:lnSpc>
                <a:spcPct val="100000"/>
              </a:lnSpc>
              <a:spcAft>
                <a:spcPct val="0"/>
              </a:spcAft>
              <a:buFont typeface="Arial" pitchFamily="34" charset="0"/>
              <a:tabLst>
                <a:tab pos="4993352" algn="r"/>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3947" rtl="0" eaLnBrk="1" fontAlgn="base" latinLnBrk="0" hangingPunct="1">
              <a:lnSpc>
                <a:spcPct val="100000"/>
              </a:lnSpc>
              <a:spcAft>
                <a:spcPct val="0"/>
              </a:spcAft>
              <a:buFont typeface="Arial" pitchFamily="34" charset="0"/>
              <a:tabLst>
                <a:tab pos="4993352" algn="r"/>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3352"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3947"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8440387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1502976"/>
          </a:xfrm>
          <a:prstGeom prst="rect">
            <a:avLst/>
          </a:prstGeom>
        </p:spPr>
        <p:txBody>
          <a:bodyPr vert="horz" lIns="0" tIns="0" rIns="0" bIns="0" rtlCol="0">
            <a:sp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15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15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15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580073" y="883393"/>
            <a:ext cx="11662258" cy="353943"/>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300" b="1" i="0" u="none" strike="noStrike" kern="1200" cap="none" spc="0" normalizeH="0" baseline="0" noProof="0" dirty="0" smtClean="0">
                <a:ln>
                  <a:noFill/>
                </a:ln>
                <a:solidFill>
                  <a:schemeClr val="accent2"/>
                </a:solidFill>
                <a:effectLst/>
                <a:uLnTx/>
                <a:uFillTx/>
                <a:latin typeface="+mj-lt"/>
                <a:ea typeface="+mn-ea"/>
                <a:cs typeface="Arial" pitchFamily="34" charset="0"/>
              </a:defRPr>
            </a:lvl1pPr>
          </a:lstStyle>
          <a:p>
            <a:pPr marL="0" marR="0" lvl="0" indent="0" algn="l" defTabSz="1175513"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051521884"/>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1502976"/>
          </a:xfrm>
          <a:prstGeom prst="rect">
            <a:avLst/>
          </a:prstGeom>
        </p:spPr>
        <p:txBody>
          <a:bodyPr vert="horz" lIns="0" tIns="0" rIns="0" bIns="0" rtlCol="0">
            <a:sp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15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15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15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811881549"/>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576073" y="1585568"/>
            <a:ext cx="5598817" cy="150297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R="0" algn="l" defTabSz="117551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117551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1500" b="0" i="0" u="none" strike="noStrike" kern="1200" cap="none" normalizeH="0" baseline="0" dirty="0" smtClean="0">
                <a:ln>
                  <a:noFill/>
                </a:ln>
                <a:solidFill>
                  <a:schemeClr val="tx2"/>
                </a:solidFill>
                <a:effectLst/>
                <a:latin typeface="+mn-lt"/>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15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1500" b="0" i="0" u="none" strike="noStrike" kern="1200" cap="none" normalizeH="0" baseline="0" dirty="0">
                <a:ln>
                  <a:noFill/>
                </a:ln>
                <a:solidFill>
                  <a:schemeClr val="tx2"/>
                </a:solidFill>
                <a:effectLst/>
                <a:latin typeface="+mn-lt"/>
                <a:ea typeface="+mn-ea"/>
                <a:cs typeface="Arial" pitchFamily="34" charset="0"/>
              </a:defRPr>
            </a:lvl5pPr>
            <a:lvl6pPr>
              <a:tabLst>
                <a:tab pos="5000014"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8"/>
          <p:cNvSpPr>
            <a:spLocks noGrp="1"/>
          </p:cNvSpPr>
          <p:nvPr>
            <p:ph type="body" sz="quarter" idx="13"/>
          </p:nvPr>
        </p:nvSpPr>
        <p:spPr bwMode="gray">
          <a:xfrm>
            <a:off x="580073" y="883393"/>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1175513"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6"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7" name="Content Placeholder 20"/>
          <p:cNvSpPr>
            <a:spLocks noGrp="1"/>
          </p:cNvSpPr>
          <p:nvPr>
            <p:ph sz="quarter" idx="14"/>
          </p:nvPr>
        </p:nvSpPr>
        <p:spPr bwMode="gray">
          <a:xfrm>
            <a:off x="6614162" y="1585568"/>
            <a:ext cx="5598817" cy="150297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marR="0" algn="l" defTabSz="117551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117551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1500" b="0" i="0" u="none" strike="noStrike" kern="1200" cap="none" normalizeH="0" baseline="0" dirty="0" smtClean="0">
                <a:ln>
                  <a:noFill/>
                </a:ln>
                <a:solidFill>
                  <a:schemeClr val="tx2"/>
                </a:solidFill>
                <a:effectLst/>
                <a:latin typeface="+mn-lt"/>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15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1500" b="0" i="0" u="none" strike="noStrike" kern="1200" cap="none" normalizeH="0" baseline="0" dirty="0">
                <a:ln>
                  <a:noFill/>
                </a:ln>
                <a:solidFill>
                  <a:schemeClr val="tx2"/>
                </a:solidFill>
                <a:effectLst/>
                <a:latin typeface="+mn-lt"/>
                <a:ea typeface="+mn-ea"/>
                <a:cs typeface="Arial" pitchFamily="34" charset="0"/>
              </a:defRPr>
            </a:lvl5pPr>
            <a:lvl6pPr>
              <a:tabLst>
                <a:tab pos="5000014"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4260577"/>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2" name="Text Placeholder 18"/>
          <p:cNvSpPr>
            <a:spLocks noGrp="1"/>
          </p:cNvSpPr>
          <p:nvPr>
            <p:ph type="body" sz="quarter" idx="13"/>
          </p:nvPr>
        </p:nvSpPr>
        <p:spPr bwMode="gray">
          <a:xfrm>
            <a:off x="580073" y="883393"/>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1175513"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7"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mj-lt"/>
              </a:defRPr>
            </a:lvl1p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8" name="Content Placeholder 20"/>
          <p:cNvSpPr>
            <a:spLocks noGrp="1"/>
          </p:cNvSpPr>
          <p:nvPr>
            <p:ph sz="quarter" idx="11"/>
          </p:nvPr>
        </p:nvSpPr>
        <p:spPr bwMode="gray">
          <a:xfrm>
            <a:off x="576072" y="1585568"/>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1pPr>
            <a:lvl2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mn-lt"/>
                <a:ea typeface="+mn-ea"/>
                <a:cs typeface="Arial" pitchFamily="34" charset="0"/>
              </a:defRPr>
            </a:lvl5pPr>
            <a:lvl6pPr>
              <a:tabLst>
                <a:tab pos="5000014"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20"/>
          <p:cNvSpPr>
            <a:spLocks noGrp="1"/>
          </p:cNvSpPr>
          <p:nvPr>
            <p:ph sz="quarter" idx="14"/>
          </p:nvPr>
        </p:nvSpPr>
        <p:spPr bwMode="gray">
          <a:xfrm>
            <a:off x="4543874" y="1585568"/>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1pPr>
            <a:lvl2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mn-lt"/>
                <a:ea typeface="+mn-ea"/>
                <a:cs typeface="Arial" pitchFamily="34" charset="0"/>
              </a:defRPr>
            </a:lvl5pPr>
            <a:lvl6pPr>
              <a:tabLst>
                <a:tab pos="5000014"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20"/>
          <p:cNvSpPr>
            <a:spLocks noGrp="1"/>
          </p:cNvSpPr>
          <p:nvPr>
            <p:ph sz="quarter" idx="15"/>
          </p:nvPr>
        </p:nvSpPr>
        <p:spPr bwMode="gray">
          <a:xfrm>
            <a:off x="8496893" y="1585568"/>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1pPr>
            <a:lvl2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mn-lt"/>
                <a:ea typeface="+mn-ea"/>
                <a:cs typeface="Arial" pitchFamily="34" charset="0"/>
              </a:defRPr>
            </a:lvl5pPr>
            <a:lvl6pPr>
              <a:tabLst>
                <a:tab pos="5000014"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8931724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576069" y="2123017"/>
            <a:ext cx="11662258" cy="1856919"/>
          </a:xfrm>
          <a:prstGeom prst="rect">
            <a:avLst/>
          </a:prstGeom>
        </p:spPr>
        <p:txBody>
          <a:bodyPr/>
          <a:lstStyle>
            <a:lvl1pPr>
              <a:defRPr>
                <a:latin typeface="+mn-lt"/>
              </a:defRPr>
            </a:lvl1pPr>
            <a:lvl2pPr>
              <a:defRPr lang="en-US" sz="2300" kern="1200" dirty="0" smtClean="0">
                <a:solidFill>
                  <a:schemeClr val="tx2"/>
                </a:solidFill>
                <a:latin typeface="+mn-lt"/>
                <a:ea typeface="+mn-ea"/>
                <a:cs typeface="+mn-cs"/>
              </a:defRPr>
            </a:lvl2pPr>
            <a:lvl3pPr>
              <a:defRPr lang="en-US" sz="2100" kern="1200" dirty="0" smtClean="0">
                <a:solidFill>
                  <a:schemeClr val="tx2"/>
                </a:solidFill>
                <a:latin typeface="+mn-lt"/>
                <a:ea typeface="+mn-ea"/>
                <a:cs typeface="+mn-cs"/>
              </a:defRPr>
            </a:lvl3pPr>
            <a:lvl4pPr>
              <a:defRPr lang="en-US" sz="2100" kern="1200" dirty="0" smtClean="0">
                <a:solidFill>
                  <a:schemeClr val="tx2"/>
                </a:solidFill>
                <a:latin typeface="+mn-lt"/>
                <a:ea typeface="+mn-ea"/>
                <a:cs typeface="+mn-cs"/>
              </a:defRPr>
            </a:lvl4pPr>
            <a:lvl5pPr>
              <a:defRPr lang="en-US" sz="21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580073" y="1583268"/>
            <a:ext cx="11662258" cy="353943"/>
          </a:xfrm>
          <a:prstGeom prst="rect">
            <a:avLst/>
          </a:prstGeom>
        </p:spPr>
        <p:txBody>
          <a:bodyPr>
            <a:spAutoFit/>
          </a:bodyPr>
          <a:lstStyle>
            <a:lvl1pPr>
              <a:defRPr sz="23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576072" y="6965632"/>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3" name="Text Placeholder 18"/>
          <p:cNvSpPr>
            <a:spLocks noGrp="1"/>
          </p:cNvSpPr>
          <p:nvPr>
            <p:ph type="body" sz="quarter" idx="16"/>
          </p:nvPr>
        </p:nvSpPr>
        <p:spPr bwMode="gray">
          <a:xfrm>
            <a:off x="580073" y="883393"/>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1175513"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8"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mj-lt"/>
              </a:defRPr>
            </a:lvl1p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340384913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576073" y="2123016"/>
            <a:ext cx="5598817" cy="1856919"/>
          </a:xfrm>
          <a:prstGeom prst="rect">
            <a:avLst/>
          </a:prstGeom>
        </p:spPr>
        <p:txBody>
          <a:bodyPr/>
          <a:lstStyle>
            <a:lvl1pPr>
              <a:defRPr>
                <a:latin typeface="+mn-lt"/>
              </a:defRPr>
            </a:lvl1pPr>
            <a:lvl2pPr>
              <a:defRPr lang="en-US" sz="2300" kern="1200" dirty="0" smtClean="0">
                <a:solidFill>
                  <a:schemeClr val="tx2"/>
                </a:solidFill>
                <a:latin typeface="+mn-lt"/>
                <a:ea typeface="+mn-ea"/>
                <a:cs typeface="+mn-cs"/>
              </a:defRPr>
            </a:lvl2pPr>
            <a:lvl3pPr>
              <a:defRPr lang="en-US" sz="2100" kern="1200" dirty="0" smtClean="0">
                <a:solidFill>
                  <a:schemeClr val="tx2"/>
                </a:solidFill>
                <a:latin typeface="+mn-lt"/>
                <a:ea typeface="+mn-ea"/>
                <a:cs typeface="+mn-cs"/>
              </a:defRPr>
            </a:lvl3pPr>
            <a:lvl4pPr>
              <a:defRPr lang="en-US" sz="2100" kern="1200" dirty="0" smtClean="0">
                <a:solidFill>
                  <a:schemeClr val="tx2"/>
                </a:solidFill>
                <a:latin typeface="+mn-lt"/>
                <a:ea typeface="+mn-ea"/>
                <a:cs typeface="+mn-cs"/>
              </a:defRPr>
            </a:lvl4pPr>
            <a:lvl5pPr>
              <a:defRPr lang="en-US" sz="21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580073" y="1583268"/>
            <a:ext cx="5594299" cy="353943"/>
          </a:xfrm>
          <a:prstGeom prst="rect">
            <a:avLst/>
          </a:prstGeom>
        </p:spPr>
        <p:txBody>
          <a:bodyPr>
            <a:spAutoFit/>
          </a:bodyPr>
          <a:lstStyle>
            <a:lvl1pPr>
              <a:defRPr sz="230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576072" y="6965632"/>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5" name="Text Placeholder 13"/>
          <p:cNvSpPr>
            <a:spLocks noGrp="1"/>
          </p:cNvSpPr>
          <p:nvPr>
            <p:ph type="body" sz="quarter" idx="16"/>
          </p:nvPr>
        </p:nvSpPr>
        <p:spPr bwMode="gray">
          <a:xfrm>
            <a:off x="6632986" y="6965632"/>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7" name="Text Placeholder 18"/>
          <p:cNvSpPr>
            <a:spLocks noGrp="1"/>
          </p:cNvSpPr>
          <p:nvPr>
            <p:ph type="body" sz="quarter" idx="17"/>
          </p:nvPr>
        </p:nvSpPr>
        <p:spPr bwMode="gray">
          <a:xfrm>
            <a:off x="580073" y="883393"/>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1175513"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10"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mj-lt"/>
              </a:defRPr>
            </a:lvl1p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11" name="Content Placeholder 20"/>
          <p:cNvSpPr>
            <a:spLocks noGrp="1"/>
          </p:cNvSpPr>
          <p:nvPr>
            <p:ph sz="quarter" idx="18"/>
          </p:nvPr>
        </p:nvSpPr>
        <p:spPr bwMode="gray">
          <a:xfrm>
            <a:off x="6614162" y="2123016"/>
            <a:ext cx="5598817" cy="1856919"/>
          </a:xfrm>
          <a:prstGeom prst="rect">
            <a:avLst/>
          </a:prstGeom>
        </p:spPr>
        <p:txBody>
          <a:bodyPr/>
          <a:lstStyle>
            <a:lvl1pPr>
              <a:defRPr>
                <a:latin typeface="+mn-lt"/>
              </a:defRPr>
            </a:lvl1pPr>
            <a:lvl2pPr>
              <a:defRPr lang="en-US" sz="2300" kern="1200" dirty="0" smtClean="0">
                <a:solidFill>
                  <a:schemeClr val="tx2"/>
                </a:solidFill>
                <a:latin typeface="+mn-lt"/>
                <a:ea typeface="+mn-ea"/>
                <a:cs typeface="+mn-cs"/>
              </a:defRPr>
            </a:lvl2pPr>
            <a:lvl3pPr>
              <a:defRPr lang="en-US" sz="2100" kern="1200" dirty="0" smtClean="0">
                <a:solidFill>
                  <a:schemeClr val="tx2"/>
                </a:solidFill>
                <a:latin typeface="+mn-lt"/>
                <a:ea typeface="+mn-ea"/>
                <a:cs typeface="+mn-cs"/>
              </a:defRPr>
            </a:lvl3pPr>
            <a:lvl4pPr>
              <a:defRPr lang="en-US" sz="2100" kern="1200" dirty="0" smtClean="0">
                <a:solidFill>
                  <a:schemeClr val="tx2"/>
                </a:solidFill>
                <a:latin typeface="+mn-lt"/>
                <a:ea typeface="+mn-ea"/>
                <a:cs typeface="+mn-cs"/>
              </a:defRPr>
            </a:lvl4pPr>
            <a:lvl5pPr>
              <a:defRPr lang="en-US" sz="21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1"/>
          <p:cNvSpPr>
            <a:spLocks noGrp="1"/>
          </p:cNvSpPr>
          <p:nvPr>
            <p:ph type="body" sz="quarter" idx="19"/>
          </p:nvPr>
        </p:nvSpPr>
        <p:spPr bwMode="gray">
          <a:xfrm>
            <a:off x="6618164" y="1583268"/>
            <a:ext cx="5594299" cy="353943"/>
          </a:xfrm>
          <a:prstGeom prst="rect">
            <a:avLst/>
          </a:prstGeom>
        </p:spPr>
        <p:txBody>
          <a:bodyPr>
            <a:spAutoFit/>
          </a:bodyPr>
          <a:lstStyle>
            <a:lvl1pPr>
              <a:defRPr sz="2300" b="1">
                <a:latin typeface="+mj-lt"/>
              </a:defRPr>
            </a:lvl1pPr>
          </a:lstStyle>
          <a:p>
            <a:pPr lvl="0"/>
            <a:r>
              <a:rPr lang="en-US" smtClean="0"/>
              <a:t>Click to edit Master text styles</a:t>
            </a:r>
          </a:p>
        </p:txBody>
      </p:sp>
    </p:spTree>
    <p:extLst>
      <p:ext uri="{BB962C8B-B14F-4D97-AF65-F5344CB8AC3E}">
        <p14:creationId xmlns:p14="http://schemas.microsoft.com/office/powerpoint/2010/main" val="23699770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47263312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2" cstate="print"/>
          <a:srcRect l="11237" t="27428" r="9845" b="25551"/>
          <a:stretch>
            <a:fillRect/>
          </a:stretch>
        </p:blipFill>
        <p:spPr bwMode="gray">
          <a:xfrm>
            <a:off x="3982722" y="3436410"/>
            <a:ext cx="4831715" cy="895985"/>
          </a:xfrm>
          <a:prstGeom prst="rect">
            <a:avLst/>
          </a:prstGeom>
          <a:noFill/>
          <a:ln w="9525">
            <a:noFill/>
            <a:miter lim="800000"/>
            <a:headEnd/>
            <a:tailEnd/>
          </a:ln>
        </p:spPr>
      </p:pic>
      <p:sp>
        <p:nvSpPr>
          <p:cNvPr id="3" name="Text Placeholder 5"/>
          <p:cNvSpPr>
            <a:spLocks noGrp="1"/>
          </p:cNvSpPr>
          <p:nvPr>
            <p:ph type="body" sz="quarter" idx="10"/>
          </p:nvPr>
        </p:nvSpPr>
        <p:spPr bwMode="gray">
          <a:xfrm>
            <a:off x="563270" y="6186832"/>
            <a:ext cx="6912864" cy="1305763"/>
          </a:xfrm>
        </p:spPr>
        <p:txBody>
          <a:bodyPr anchor="b" anchorCtr="0">
            <a:noAutofit/>
          </a:bodyPr>
          <a:lstStyle>
            <a:lvl1pPr>
              <a:lnSpc>
                <a:spcPts val="1029"/>
              </a:lnSpc>
              <a:spcBef>
                <a:spcPts val="514"/>
              </a:spcBef>
              <a:spcAft>
                <a:spcPts val="514"/>
              </a:spcAft>
              <a:defRPr sz="900"/>
            </a:lvl1pPr>
          </a:lstStyle>
          <a:p>
            <a:pPr lvl="0"/>
            <a:r>
              <a:rPr lang="en-US" smtClean="0"/>
              <a:t>Click to edit Master text styles</a:t>
            </a:r>
          </a:p>
        </p:txBody>
      </p:sp>
    </p:spTree>
    <p:extLst>
      <p:ext uri="{BB962C8B-B14F-4D97-AF65-F5344CB8AC3E}">
        <p14:creationId xmlns:p14="http://schemas.microsoft.com/office/powerpoint/2010/main" val="1482839813"/>
      </p:ext>
    </p:extLst>
  </p:cSld>
  <p:clrMapOvr>
    <a:masterClrMapping/>
  </p:clrMapOvr>
  <p:transition/>
  <p:hf hdr="0" dt="0"/>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1_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576073" y="1585567"/>
            <a:ext cx="5598817" cy="5533949"/>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R="0"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a:ln>
                  <a:noFill/>
                </a:ln>
                <a:solidFill>
                  <a:schemeClr val="tx2"/>
                </a:solidFill>
                <a:effectLst/>
                <a:latin typeface="+mn-lt"/>
                <a:ea typeface="+mn-ea"/>
                <a:cs typeface="Arial" pitchFamily="34" charset="0"/>
              </a:defRPr>
            </a:lvl5pPr>
            <a:lvl6pPr>
              <a:tabLst>
                <a:tab pos="5000014"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5" name="Content Placeholder 20"/>
          <p:cNvSpPr>
            <a:spLocks noGrp="1"/>
          </p:cNvSpPr>
          <p:nvPr>
            <p:ph sz="quarter" idx="12"/>
          </p:nvPr>
        </p:nvSpPr>
        <p:spPr bwMode="gray">
          <a:xfrm>
            <a:off x="6614164" y="1585567"/>
            <a:ext cx="5598817" cy="5533949"/>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R="0"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a:ln>
                  <a:noFill/>
                </a:ln>
                <a:solidFill>
                  <a:schemeClr val="tx2"/>
                </a:solidFill>
                <a:effectLst/>
                <a:latin typeface="+mn-lt"/>
                <a:ea typeface="+mn-ea"/>
                <a:cs typeface="Arial" pitchFamily="34" charset="0"/>
              </a:defRPr>
            </a:lvl5pPr>
            <a:lvl6pPr>
              <a:tabLst>
                <a:tab pos="5000014"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3"/>
          <p:cNvSpPr>
            <a:spLocks noGrp="1" noChangeArrowheads="1"/>
          </p:cNvSpPr>
          <p:nvPr>
            <p:ph type="sldNum" sz="quarter" idx="4"/>
          </p:nvPr>
        </p:nvSpPr>
        <p:spPr bwMode="auto">
          <a:xfrm>
            <a:off x="6191515" y="7516920"/>
            <a:ext cx="410369" cy="200055"/>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eaLnBrk="0" hangingPunct="0">
              <a:spcBef>
                <a:spcPct val="0"/>
              </a:spcBef>
              <a:defRPr sz="1300">
                <a:latin typeface="Arial" pitchFamily="34" charset="0"/>
                <a:cs typeface="+mn-cs"/>
              </a:defRPr>
            </a:lvl1pPr>
          </a:lstStyle>
          <a:p>
            <a:pPr>
              <a:defRPr/>
            </a:pPr>
            <a:r>
              <a:rPr lang="nl-NL" dirty="0">
                <a:solidFill>
                  <a:srgbClr val="000000"/>
                </a:solidFill>
              </a:rPr>
              <a:t>- </a:t>
            </a:r>
            <a:fld id="{7B24AA8E-C6A2-44F0-AD04-3E74C86BDE32}" type="slidenum">
              <a:rPr lang="nl-NL">
                <a:solidFill>
                  <a:srgbClr val="000000"/>
                </a:solidFill>
              </a:rPr>
              <a:pPr>
                <a:defRPr/>
              </a:pPr>
              <a:t>‹#›</a:t>
            </a:fld>
            <a:r>
              <a:rPr lang="nl-NL" dirty="0">
                <a:solidFill>
                  <a:srgbClr val="000000"/>
                </a:solidFill>
              </a:rPr>
              <a:t> -</a:t>
            </a:r>
          </a:p>
        </p:txBody>
      </p:sp>
    </p:spTree>
    <p:extLst>
      <p:ext uri="{BB962C8B-B14F-4D97-AF65-F5344CB8AC3E}">
        <p14:creationId xmlns:p14="http://schemas.microsoft.com/office/powerpoint/2010/main" val="3723724210"/>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26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6196278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0"/>
            <a:ext cx="11662258" cy="5539130"/>
          </a:xfrm>
          <a:prstGeom prst="rect">
            <a:avLst/>
          </a:prstGeom>
        </p:spPr>
        <p:txBody>
          <a:bodyPr vert="horz" lIns="0" tIns="0" rIns="0" bIns="0" rtlCol="0">
            <a:noAutofit/>
          </a:bodyPr>
          <a:lstStyle>
            <a:lvl1pPr marL="0" marR="0" indent="0" algn="l" defTabSz="1173947" rtl="0" eaLnBrk="1" fontAlgn="base" latinLnBrk="0" hangingPunct="1">
              <a:lnSpc>
                <a:spcPct val="100000"/>
              </a:lnSpc>
              <a:spcBef>
                <a:spcPts val="2829"/>
              </a:spcBef>
              <a:spcAft>
                <a:spcPct val="0"/>
              </a:spcAft>
              <a:buClrTx/>
              <a:buSzTx/>
              <a:buFont typeface="Arial" pitchFamily="34" charset="0"/>
              <a:buNone/>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L="224193" marR="0" indent="-222155"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5pPr>
            <a:lvl6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3947"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3947"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97850418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7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00064302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Sub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81802" y="1472901"/>
            <a:ext cx="11635981" cy="1964640"/>
          </a:xfrm>
        </p:spPr>
        <p:txBody>
          <a:bodyPr/>
          <a:lstStyle>
            <a:lvl1pPr>
              <a:spcAft>
                <a:spcPts val="923"/>
              </a:spcAft>
              <a:defRPr/>
            </a:lvl1pPr>
            <a:lvl2pPr>
              <a:spcAft>
                <a:spcPts val="923"/>
              </a:spcAft>
              <a:defRPr/>
            </a:lvl2pPr>
            <a:lvl3pPr>
              <a:spcAft>
                <a:spcPts val="923"/>
              </a:spcAft>
              <a:defRPr/>
            </a:lvl3pPr>
            <a:lvl4pPr>
              <a:spcAft>
                <a:spcPts val="923"/>
              </a:spcAft>
              <a:defRPr/>
            </a:lvl4pPr>
            <a:lvl5pPr>
              <a:spcAft>
                <a:spcPts val="923"/>
              </a:spcAf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22" name="Straight Connector 21"/>
          <p:cNvCxnSpPr/>
          <p:nvPr userDrawn="1"/>
        </p:nvCxnSpPr>
        <p:spPr>
          <a:xfrm>
            <a:off x="6400800" y="-1"/>
            <a:ext cx="0" cy="7772401"/>
          </a:xfrm>
          <a:prstGeom prst="line">
            <a:avLst/>
          </a:prstGeom>
          <a:ln w="3175">
            <a:gradFill>
              <a:gsLst>
                <a:gs pos="0">
                  <a:schemeClr val="accent1">
                    <a:tint val="66000"/>
                    <a:satMod val="160000"/>
                    <a:alpha val="0"/>
                  </a:schemeClr>
                </a:gs>
                <a:gs pos="50000">
                  <a:schemeClr val="accent1">
                    <a:tint val="44500"/>
                    <a:satMod val="160000"/>
                    <a:alpha val="20000"/>
                  </a:schemeClr>
                </a:gs>
                <a:gs pos="100000">
                  <a:schemeClr val="accent1">
                    <a:tint val="23500"/>
                    <a:satMod val="160000"/>
                    <a:alpha val="0"/>
                  </a:schemeClr>
                </a:gs>
              </a:gsLst>
              <a:lin ang="5400000" scaled="0"/>
            </a:gradFill>
            <a:prstDash val="sysDot"/>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81802" y="457106"/>
            <a:ext cx="11635981" cy="477054"/>
          </a:xfrm>
        </p:spPr>
        <p:txBody>
          <a:bodyPr anchor="t" anchorCtr="0"/>
          <a:lstStyle>
            <a:lvl1pPr>
              <a:lnSpc>
                <a:spcPct val="100000"/>
              </a:lnSpc>
              <a:defRPr/>
            </a:lvl1pPr>
          </a:lstStyle>
          <a:p>
            <a:r>
              <a:rPr lang="en-US" dirty="0" smtClean="0"/>
              <a:t>Click to edit Master title style</a:t>
            </a:r>
            <a:endParaRPr lang="en-US" dirty="0"/>
          </a:p>
        </p:txBody>
      </p:sp>
      <p:sp>
        <p:nvSpPr>
          <p:cNvPr id="9" name="Text Placeholder 8"/>
          <p:cNvSpPr>
            <a:spLocks noGrp="1"/>
          </p:cNvSpPr>
          <p:nvPr>
            <p:ph type="body" sz="quarter" idx="11" hasCustomPrompt="1"/>
          </p:nvPr>
        </p:nvSpPr>
        <p:spPr>
          <a:xfrm>
            <a:off x="583158" y="820075"/>
            <a:ext cx="11634624" cy="430887"/>
          </a:xfrm>
        </p:spPr>
        <p:txBody>
          <a:bodyPr/>
          <a:lstStyle>
            <a:lvl1pPr marL="0" indent="0">
              <a:defRPr sz="2800" b="1" i="1">
                <a:solidFill>
                  <a:schemeClr val="accent3"/>
                </a:solidFill>
              </a:defRPr>
            </a:lvl1pPr>
          </a:lstStyle>
          <a:p>
            <a:pPr lvl="0"/>
            <a:r>
              <a:rPr lang="en-US" dirty="0" smtClean="0"/>
              <a:t>Subtitle</a:t>
            </a:r>
            <a:endParaRPr lang="en-US" dirty="0"/>
          </a:p>
        </p:txBody>
      </p:sp>
    </p:spTree>
    <p:extLst>
      <p:ext uri="{BB962C8B-B14F-4D97-AF65-F5344CB8AC3E}">
        <p14:creationId xmlns:p14="http://schemas.microsoft.com/office/powerpoint/2010/main" val="3457012007"/>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Basic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68961" y="1309794"/>
            <a:ext cx="11675059" cy="2028761"/>
          </a:xfrm>
        </p:spPr>
        <p:txBody>
          <a:bodyPr/>
          <a:lstStyle>
            <a:lvl1pPr>
              <a:buNone/>
              <a:defRPr/>
            </a:lvl1pPr>
            <a:lvl3pPr>
              <a:defRPr sz="2100"/>
            </a:lvl3pPr>
            <a:lvl4pPr>
              <a:defRPr sz="21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0"/>
            <a:endParaRPr lang="en-US" dirty="0" smtClean="0"/>
          </a:p>
        </p:txBody>
      </p:sp>
      <p:sp>
        <p:nvSpPr>
          <p:cNvPr id="2" name="Title 1"/>
          <p:cNvSpPr>
            <a:spLocks noGrp="1"/>
          </p:cNvSpPr>
          <p:nvPr>
            <p:ph type="title"/>
          </p:nvPr>
        </p:nvSpPr>
        <p:spPr>
          <a:xfrm>
            <a:off x="562295" y="453004"/>
            <a:ext cx="11683682" cy="423193"/>
          </a:xfrm>
        </p:spPr>
        <p:txBody>
          <a:bodyPr/>
          <a:lstStyle>
            <a:lvl1pPr>
              <a:defRPr sz="3100"/>
            </a:lvl1pPr>
          </a:lstStyle>
          <a:p>
            <a:r>
              <a:rPr lang="en-US" dirty="0" smtClean="0"/>
              <a:t>Click to edit Master title style</a:t>
            </a:r>
            <a:endParaRPr lang="en-US" dirty="0"/>
          </a:p>
        </p:txBody>
      </p:sp>
    </p:spTree>
    <p:extLst>
      <p:ext uri="{BB962C8B-B14F-4D97-AF65-F5344CB8AC3E}">
        <p14:creationId xmlns:p14="http://schemas.microsoft.com/office/powerpoint/2010/main" val="756853794"/>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3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537582641"/>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4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3699495448"/>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5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941386231"/>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7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3138322919"/>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8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598218889"/>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9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83996522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2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1814197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576090"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3352"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18"/>
          <p:cNvSpPr>
            <a:spLocks noGrp="1"/>
          </p:cNvSpPr>
          <p:nvPr>
            <p:ph type="body" sz="quarter" idx="13"/>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3947"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6"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3947"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7" name="Content Placeholder 20"/>
          <p:cNvSpPr>
            <a:spLocks noGrp="1"/>
          </p:cNvSpPr>
          <p:nvPr>
            <p:ph sz="quarter" idx="14"/>
          </p:nvPr>
        </p:nvSpPr>
        <p:spPr bwMode="gray">
          <a:xfrm>
            <a:off x="6614176"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3352"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9118610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6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20752022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2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289055815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3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30497491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4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48311666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5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368283355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6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34206032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7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151245060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8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420038142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9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353089197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20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15014344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3 Column">
    <p:spTree>
      <p:nvGrpSpPr>
        <p:cNvPr id="1" name=""/>
        <p:cNvGrpSpPr/>
        <p:nvPr/>
      </p:nvGrpSpPr>
      <p:grpSpPr>
        <a:xfrm>
          <a:off x="0" y="0"/>
          <a:ext cx="0" cy="0"/>
          <a:chOff x="0" y="0"/>
          <a:chExt cx="0" cy="0"/>
        </a:xfrm>
      </p:grpSpPr>
      <p:sp>
        <p:nvSpPr>
          <p:cNvPr id="12" name="Text Placeholder 18"/>
          <p:cNvSpPr>
            <a:spLocks noGrp="1"/>
          </p:cNvSpPr>
          <p:nvPr>
            <p:ph type="body" sz="quarter" idx="13"/>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3947"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7"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Calibri" pitchFamily="34" charset="0"/>
              </a:defRPr>
            </a:lvl1pPr>
          </a:lstStyle>
          <a:p>
            <a:pPr marL="0" marR="0" lvl="0" indent="0" algn="l" defTabSz="1173947"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8" name="Content Placeholder 20"/>
          <p:cNvSpPr>
            <a:spLocks noGrp="1"/>
          </p:cNvSpPr>
          <p:nvPr>
            <p:ph sz="quarter" idx="11"/>
          </p:nvPr>
        </p:nvSpPr>
        <p:spPr bwMode="gray">
          <a:xfrm>
            <a:off x="576072" y="1585570"/>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3352"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0"/>
          <p:cNvSpPr>
            <a:spLocks noGrp="1"/>
          </p:cNvSpPr>
          <p:nvPr>
            <p:ph sz="quarter" idx="14"/>
          </p:nvPr>
        </p:nvSpPr>
        <p:spPr bwMode="gray">
          <a:xfrm>
            <a:off x="4543874" y="1585570"/>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3352"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0"/>
          <p:cNvSpPr>
            <a:spLocks noGrp="1"/>
          </p:cNvSpPr>
          <p:nvPr>
            <p:ph sz="quarter" idx="15"/>
          </p:nvPr>
        </p:nvSpPr>
        <p:spPr bwMode="gray">
          <a:xfrm>
            <a:off x="8496893" y="1585570"/>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3352"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0416715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21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73886251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22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0"/>
            <a:ext cx="11662258" cy="5539130"/>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580073" y="883393"/>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1175513"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291157758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23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0"/>
            <a:ext cx="11662258" cy="5539130"/>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580073" y="883393"/>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1175513"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343946584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4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0"/>
            <a:ext cx="11662258" cy="5539130"/>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580073" y="883393"/>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1175513"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212131506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25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0"/>
            <a:ext cx="11662258" cy="5539130"/>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580073" y="883393"/>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1175513"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318543515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One column with 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504508" y="444006"/>
            <a:ext cx="11794807" cy="423193"/>
          </a:xfrm>
        </p:spPr>
        <p:txBody>
          <a:bodyPr/>
          <a:lstStyle/>
          <a:p>
            <a:r>
              <a:rPr lang="en-US" noProof="0" smtClean="0"/>
              <a:t>Click to edit Master title style</a:t>
            </a:r>
            <a:endParaRPr lang="en-US" noProof="0" dirty="0"/>
          </a:p>
        </p:txBody>
      </p:sp>
      <p:sp>
        <p:nvSpPr>
          <p:cNvPr id="7" name="Subtitle0"/>
          <p:cNvSpPr>
            <a:spLocks noGrp="1"/>
          </p:cNvSpPr>
          <p:nvPr>
            <p:ph type="body" idx="13"/>
          </p:nvPr>
        </p:nvSpPr>
        <p:spPr>
          <a:xfrm>
            <a:off x="502285" y="867200"/>
            <a:ext cx="11793600" cy="400110"/>
          </a:xfrm>
        </p:spPr>
        <p:txBody>
          <a:bodyPr rtlCol="0">
            <a:spAutoFit/>
          </a:bodyPr>
          <a:lstStyle>
            <a:lvl1pPr marL="0" indent="0" algn="l" defTabSz="1175513" rtl="0" eaLnBrk="1" latinLnBrk="0" hangingPunct="1">
              <a:spcBef>
                <a:spcPct val="0"/>
              </a:spcBef>
              <a:buNone/>
              <a:defRPr lang="en-US" sz="2600" b="0" kern="1200" dirty="0" smtClean="0">
                <a:solidFill>
                  <a:schemeClr val="tx2"/>
                </a:solidFill>
                <a:latin typeface="+mn-lt"/>
                <a:ea typeface="+mj-ea"/>
                <a:cs typeface="+mj-cs"/>
              </a:defRPr>
            </a:lvl1pPr>
            <a:lvl2pPr marL="587756" indent="0">
              <a:buNone/>
              <a:defRPr sz="2600" b="1"/>
            </a:lvl2pPr>
            <a:lvl3pPr marL="1175513" indent="0">
              <a:buNone/>
              <a:defRPr sz="2300" b="1"/>
            </a:lvl3pPr>
            <a:lvl4pPr marL="1763271" indent="0">
              <a:buNone/>
              <a:defRPr sz="2100" b="1"/>
            </a:lvl4pPr>
            <a:lvl5pPr marL="2351027" indent="0">
              <a:buNone/>
              <a:defRPr sz="2100" b="1"/>
            </a:lvl5pPr>
            <a:lvl6pPr marL="2938784" indent="0">
              <a:buNone/>
              <a:defRPr sz="2100" b="1"/>
            </a:lvl6pPr>
            <a:lvl7pPr marL="3526540" indent="0">
              <a:buNone/>
              <a:defRPr sz="2100" b="1"/>
            </a:lvl7pPr>
            <a:lvl8pPr marL="4114297" indent="0">
              <a:buNone/>
              <a:defRPr sz="2100" b="1"/>
            </a:lvl8pPr>
            <a:lvl9pPr marL="4702053" indent="0">
              <a:buNone/>
              <a:defRPr sz="2100" b="1"/>
            </a:lvl9pPr>
          </a:lstStyle>
          <a:p>
            <a:pPr lvl="0"/>
            <a:r>
              <a:rPr lang="en-US" noProof="0" smtClean="0"/>
              <a:t>Click to edit Master text styles</a:t>
            </a:r>
          </a:p>
        </p:txBody>
      </p:sp>
      <p:sp>
        <p:nvSpPr>
          <p:cNvPr id="36" name="Content Placeholder 2"/>
          <p:cNvSpPr>
            <a:spLocks noGrp="1"/>
          </p:cNvSpPr>
          <p:nvPr>
            <p:ph idx="14"/>
          </p:nvPr>
        </p:nvSpPr>
        <p:spPr>
          <a:xfrm>
            <a:off x="505715" y="1437536"/>
            <a:ext cx="11793600" cy="1502976"/>
          </a:xfrm>
        </p:spPr>
        <p:txBody>
          <a:bodyPr/>
          <a:lstStyle>
            <a:lvl1pPr>
              <a:spcBef>
                <a:spcPts val="1286"/>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Slide Number Placeholder 5"/>
          <p:cNvSpPr>
            <a:spLocks noGrp="1"/>
          </p:cNvSpPr>
          <p:nvPr>
            <p:ph type="sldNum" sz="quarter" idx="15"/>
          </p:nvPr>
        </p:nvSpPr>
        <p:spPr>
          <a:xfrm>
            <a:off x="502287" y="7477338"/>
            <a:ext cx="504508" cy="142135"/>
          </a:xfrm>
          <a:prstGeom prst="rect">
            <a:avLst/>
          </a:prstGeom>
        </p:spPr>
        <p:txBody>
          <a:bodyPr lIns="117552" tIns="58776" rIns="117552" bIns="58776"/>
          <a:lstStyle>
            <a:lvl1pPr>
              <a:defRPr/>
            </a:lvl1pPr>
          </a:lstStyle>
          <a:p>
            <a:pPr>
              <a:defRPr/>
            </a:pPr>
            <a:fld id="{FC33E0EA-D7A7-4DD6-A294-5705B18BAF49}" type="slidenum">
              <a:rPr lang="en-US" sz="1400">
                <a:solidFill>
                  <a:srgbClr val="002776"/>
                </a:solidFill>
              </a:rPr>
              <a:pPr>
                <a:defRPr/>
              </a:pPr>
              <a:t>‹#›</a:t>
            </a:fld>
            <a:endParaRPr lang="en-US" sz="1400" dirty="0">
              <a:solidFill>
                <a:srgbClr val="002776"/>
              </a:solidFill>
            </a:endParaRPr>
          </a:p>
        </p:txBody>
      </p:sp>
    </p:spTree>
    <p:extLst>
      <p:ext uri="{BB962C8B-B14F-4D97-AF65-F5344CB8AC3E}">
        <p14:creationId xmlns:p14="http://schemas.microsoft.com/office/powerpoint/2010/main" val="114639253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0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824864245"/>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11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1"/>
            <a:ext cx="11662258" cy="5533949"/>
          </a:xfrm>
          <a:prstGeom prst="rect">
            <a:avLst/>
          </a:prstGeom>
        </p:spPr>
        <p:txBody>
          <a:bodyPr vert="horz" lIns="0" tIns="0" rIns="0" bIns="0" rtlCol="0">
            <a:noAutofit/>
          </a:bodyPr>
          <a:lstStyle>
            <a:lvl1pPr marL="0" marR="0" indent="0" algn="l" defTabSz="1175513" rtl="0" eaLnBrk="1" fontAlgn="base" latinLnBrk="0" hangingPunct="1">
              <a:lnSpc>
                <a:spcPct val="100000"/>
              </a:lnSpc>
              <a:spcBef>
                <a:spcPts val="2829"/>
              </a:spcBef>
              <a:spcAft>
                <a:spcPct val="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2451" algn="l" defTabSz="1175513" rtl="0" eaLnBrk="1" fontAlgn="base" latinLnBrk="0" hangingPunct="1">
              <a:lnSpc>
                <a:spcPct val="100000"/>
              </a:lnSpc>
              <a:spcAft>
                <a:spcPct val="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4pPr>
            <a:lvl5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5pPr>
            <a:lvl6pPr marR="0" algn="l" defTabSz="1175513"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580073" y="454043"/>
            <a:ext cx="11662258" cy="429348"/>
          </a:xfrm>
          <a:prstGeom prst="rect">
            <a:avLst/>
          </a:prstGeom>
        </p:spPr>
        <p:txBody>
          <a:bodyPr lIns="0" tIns="0" rIns="0" bIns="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2218244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586740" y="998538"/>
            <a:ext cx="11645900" cy="276999"/>
          </a:xfrm>
        </p:spPr>
        <p:txBody>
          <a:bodyPr/>
          <a:lstStyle>
            <a:lvl1pPr>
              <a:defRPr sz="1800"/>
            </a:lvl1pPr>
            <a:lvl2pPr>
              <a:defRPr sz="1800"/>
            </a:lvl2pPr>
            <a:lvl3pPr>
              <a:defRPr sz="1800"/>
            </a:lvl3pPr>
            <a:lvl4pPr>
              <a:defRPr sz="1800"/>
            </a:lvl4pPr>
            <a:lvl5pPr>
              <a:defRPr sz="1800"/>
            </a:lvl5pPr>
          </a:lstStyle>
          <a:p>
            <a:pPr lvl="0"/>
            <a:r>
              <a:rPr lang="en-US" dirty="0" smtClean="0"/>
              <a:t>Click to edit Master text styles</a:t>
            </a:r>
          </a:p>
        </p:txBody>
      </p:sp>
    </p:spTree>
    <p:extLst>
      <p:ext uri="{BB962C8B-B14F-4D97-AF65-F5344CB8AC3E}">
        <p14:creationId xmlns:p14="http://schemas.microsoft.com/office/powerpoint/2010/main" val="244203355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userDrawn="1">
  <p:cSld name="36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66738" y="1586865"/>
            <a:ext cx="11662258" cy="5533949"/>
          </a:xfrm>
          <a:prstGeom prst="rect">
            <a:avLst/>
          </a:prstGeom>
        </p:spPr>
        <p:txBody>
          <a:bodyPr vert="horz" lIns="0" tIns="0" rIns="0" bIns="0" rtlCol="0">
            <a:noAutofit/>
          </a:bodyPr>
          <a:lstStyle>
            <a:lvl1pPr marL="0" marR="0" indent="0" algn="l" defTabSz="960120" rtl="0" eaLnBrk="1" fontAlgn="base" latinLnBrk="0" hangingPunct="1">
              <a:lnSpc>
                <a:spcPct val="100000"/>
              </a:lnSpc>
              <a:spcBef>
                <a:spcPts val="2310"/>
              </a:spcBef>
              <a:spcAft>
                <a:spcPct val="0"/>
              </a:spcAft>
              <a:buClrTx/>
              <a:buSzTx/>
              <a:buFont typeface="Arial" pitchFamily="34" charset="0"/>
              <a:buNone/>
              <a:tabLst/>
              <a:defRPr kumimoji="0" lang="en-US" sz="2520" b="0" i="0" u="none" strike="noStrike" kern="1200" cap="none" normalizeH="0" baseline="0" dirty="0" smtClean="0">
                <a:ln>
                  <a:noFill/>
                </a:ln>
                <a:solidFill>
                  <a:schemeClr val="tx2"/>
                </a:solidFill>
                <a:effectLst/>
                <a:latin typeface="+mn-lt"/>
                <a:ea typeface="+mn-ea"/>
                <a:cs typeface="Arial" pitchFamily="34" charset="0"/>
              </a:defRPr>
            </a:lvl1pPr>
            <a:lvl2pPr marL="240030" marR="0" indent="-238364" algn="l" defTabSz="960120" rtl="0" eaLnBrk="1" fontAlgn="base" latinLnBrk="0" hangingPunct="1">
              <a:lnSpc>
                <a:spcPct val="100000"/>
              </a:lnSpc>
              <a:spcAft>
                <a:spcPct val="0"/>
              </a:spcAft>
              <a:buFont typeface="Arial" pitchFamily="34" charset="0"/>
              <a:tabLst/>
              <a:defRPr kumimoji="0" lang="en-US" sz="2520" b="0" i="0" u="none" strike="noStrike" kern="1200" cap="none" normalizeH="0" baseline="0" dirty="0" smtClean="0">
                <a:ln>
                  <a:noFill/>
                </a:ln>
                <a:solidFill>
                  <a:schemeClr val="tx2"/>
                </a:solidFill>
                <a:effectLst/>
                <a:latin typeface="+mn-lt"/>
                <a:ea typeface="+mn-ea"/>
                <a:cs typeface="Arial" pitchFamily="34" charset="0"/>
              </a:defRPr>
            </a:lvl2pPr>
            <a:lvl3pPr marR="0" algn="l" defTabSz="960120"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3pPr>
            <a:lvl4pPr marR="0" algn="l" defTabSz="960120"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4pPr>
            <a:lvl5pPr marR="0" algn="l" defTabSz="960120"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5pPr>
            <a:lvl6pPr marR="0" algn="l" defTabSz="960120" rtl="0" eaLnBrk="1" fontAlgn="base" latinLnBrk="0" hangingPunct="1">
              <a:lnSpc>
                <a:spcPct val="100000"/>
              </a:lnSpc>
              <a:spcAft>
                <a:spcPct val="0"/>
              </a:spcAft>
              <a:buFont typeface="Arial" pitchFamily="34" charset="0"/>
              <a:tabLst/>
              <a:defRPr kumimoji="0" lang="en-US" sz="189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Placeholder 10"/>
          <p:cNvSpPr>
            <a:spLocks noGrp="1"/>
          </p:cNvSpPr>
          <p:nvPr>
            <p:ph type="title"/>
          </p:nvPr>
        </p:nvSpPr>
        <p:spPr bwMode="gray">
          <a:xfrm>
            <a:off x="564071" y="441174"/>
            <a:ext cx="11662258" cy="429348"/>
          </a:xfrm>
          <a:prstGeom prst="rect">
            <a:avLst/>
          </a:prstGeom>
        </p:spPr>
        <p:txBody>
          <a:bodyPr wrap="square" lIns="0" tIns="0" rIns="0" bIns="0" anchor="t" anchorCtr="0">
            <a:spAutoFit/>
          </a:bodyPr>
          <a:lstStyle/>
          <a:p>
            <a:pPr marL="0" marR="0" lvl="0" indent="0" algn="l" defTabSz="96012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2715262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576069" y="2123015"/>
            <a:ext cx="11662258" cy="1933863"/>
          </a:xfrm>
          <a:prstGeom prst="rect">
            <a:avLst/>
          </a:prstGeom>
        </p:spPr>
        <p:txBody>
          <a:bodyPr/>
          <a:lstStyle>
            <a:lvl1pPr>
              <a:defRPr>
                <a:latin typeface="Calibri" pitchFamily="34" charset="0"/>
              </a:defRPr>
            </a:lvl1pPr>
            <a:lvl2pPr>
              <a:defRPr lang="en-US" sz="2300" kern="1200" dirty="0" smtClean="0">
                <a:solidFill>
                  <a:schemeClr val="tx2"/>
                </a:solidFill>
                <a:latin typeface="Calibri" pitchFamily="34" charset="0"/>
                <a:ea typeface="+mn-ea"/>
                <a:cs typeface="+mn-cs"/>
              </a:defRPr>
            </a:lvl2pPr>
            <a:lvl3pPr>
              <a:defRPr lang="en-US" sz="2100" kern="1200" dirty="0" smtClean="0">
                <a:solidFill>
                  <a:schemeClr val="tx2"/>
                </a:solidFill>
                <a:latin typeface="Calibri" pitchFamily="34" charset="0"/>
                <a:ea typeface="+mn-ea"/>
                <a:cs typeface="+mn-cs"/>
              </a:defRPr>
            </a:lvl3pPr>
            <a:lvl4pPr>
              <a:defRPr lang="en-US" sz="2100" kern="1200" dirty="0" smtClean="0">
                <a:solidFill>
                  <a:schemeClr val="tx2"/>
                </a:solidFill>
                <a:latin typeface="Calibri" pitchFamily="34" charset="0"/>
                <a:ea typeface="+mn-ea"/>
                <a:cs typeface="+mn-cs"/>
              </a:defRPr>
            </a:lvl4pPr>
            <a:lvl5pPr>
              <a:defRPr lang="en-US" sz="2100" kern="1200" dirty="0">
                <a:solidFill>
                  <a:schemeClr val="tx2"/>
                </a:solidFill>
                <a:latin typeface="Calibri"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bwMode="gray">
          <a:xfrm>
            <a:off x="580073" y="1583268"/>
            <a:ext cx="11662258" cy="353943"/>
          </a:xfrm>
          <a:prstGeom prst="rect">
            <a:avLst/>
          </a:prstGeom>
        </p:spPr>
        <p:txBody>
          <a:bodyPr>
            <a:spAutoFit/>
          </a:bodyPr>
          <a:lstStyle>
            <a:lvl1pPr>
              <a:defRPr sz="2300" b="1">
                <a:latin typeface="Calibri" pitchFamily="34" charset="0"/>
              </a:defRPr>
            </a:lvl1pPr>
          </a:lstStyle>
          <a:p>
            <a:pPr lvl="0"/>
            <a:r>
              <a:rPr lang="en-US" dirty="0" smtClean="0"/>
              <a:t>Click to edit Master text styles</a:t>
            </a:r>
          </a:p>
        </p:txBody>
      </p:sp>
      <p:sp>
        <p:nvSpPr>
          <p:cNvPr id="7" name="Text Placeholder 13"/>
          <p:cNvSpPr>
            <a:spLocks noGrp="1"/>
          </p:cNvSpPr>
          <p:nvPr>
            <p:ph type="body" sz="quarter" idx="15"/>
          </p:nvPr>
        </p:nvSpPr>
        <p:spPr bwMode="gray">
          <a:xfrm>
            <a:off x="576072" y="6965634"/>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chemeClr val="tx2"/>
                </a:solidFill>
                <a:latin typeface="Calibri" pitchFamily="34" charset="0"/>
                <a:ea typeface="+mn-ea"/>
                <a:cs typeface="Calibri"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p:txBody>
      </p:sp>
      <p:sp>
        <p:nvSpPr>
          <p:cNvPr id="13" name="Text Placeholder 18"/>
          <p:cNvSpPr>
            <a:spLocks noGrp="1"/>
          </p:cNvSpPr>
          <p:nvPr>
            <p:ph type="body" sz="quarter" idx="16"/>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3947"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8"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Calibri" pitchFamily="34" charset="0"/>
              </a:defRPr>
            </a:lvl1pPr>
          </a:lstStyle>
          <a:p>
            <a:pPr marL="0" marR="0" lvl="0" indent="0" algn="l" defTabSz="1173947"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309833114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userDrawn="1">
  <p:cSld name="37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66738" y="1586865"/>
            <a:ext cx="11662258" cy="5533949"/>
          </a:xfrm>
          <a:prstGeom prst="rect">
            <a:avLst/>
          </a:prstGeom>
        </p:spPr>
        <p:txBody>
          <a:bodyPr vert="horz" lIns="0" tIns="0" rIns="0" bIns="0" rtlCol="0">
            <a:noAutofit/>
          </a:bodyPr>
          <a:lstStyle>
            <a:lvl1pPr marL="0" marR="0" indent="0" algn="l" defTabSz="960120" rtl="0" eaLnBrk="1" fontAlgn="base" latinLnBrk="0" hangingPunct="1">
              <a:lnSpc>
                <a:spcPct val="100000"/>
              </a:lnSpc>
              <a:spcBef>
                <a:spcPts val="2310"/>
              </a:spcBef>
              <a:spcAft>
                <a:spcPct val="0"/>
              </a:spcAft>
              <a:buClrTx/>
              <a:buSzTx/>
              <a:buFont typeface="Arial" pitchFamily="34" charset="0"/>
              <a:buNone/>
              <a:tabLst/>
              <a:defRPr kumimoji="0" lang="en-US" sz="2520" b="0" i="0" u="none" strike="noStrike" kern="1200" cap="none" normalizeH="0" baseline="0" dirty="0" smtClean="0">
                <a:ln>
                  <a:noFill/>
                </a:ln>
                <a:solidFill>
                  <a:schemeClr val="tx2"/>
                </a:solidFill>
                <a:effectLst/>
                <a:latin typeface="+mn-lt"/>
                <a:ea typeface="+mn-ea"/>
                <a:cs typeface="Arial" pitchFamily="34" charset="0"/>
              </a:defRPr>
            </a:lvl1pPr>
            <a:lvl2pPr marL="240030" marR="0" indent="-238364" algn="l" defTabSz="960120" rtl="0" eaLnBrk="1" fontAlgn="base" latinLnBrk="0" hangingPunct="1">
              <a:lnSpc>
                <a:spcPct val="100000"/>
              </a:lnSpc>
              <a:spcAft>
                <a:spcPct val="0"/>
              </a:spcAft>
              <a:buFont typeface="Arial" pitchFamily="34" charset="0"/>
              <a:tabLst/>
              <a:defRPr kumimoji="0" lang="en-US" sz="2520" b="0" i="0" u="none" strike="noStrike" kern="1200" cap="none" normalizeH="0" baseline="0" dirty="0" smtClean="0">
                <a:ln>
                  <a:noFill/>
                </a:ln>
                <a:solidFill>
                  <a:schemeClr val="tx2"/>
                </a:solidFill>
                <a:effectLst/>
                <a:latin typeface="+mn-lt"/>
                <a:ea typeface="+mn-ea"/>
                <a:cs typeface="Arial" pitchFamily="34" charset="0"/>
              </a:defRPr>
            </a:lvl2pPr>
            <a:lvl3pPr marR="0" algn="l" defTabSz="960120"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3pPr>
            <a:lvl4pPr marR="0" algn="l" defTabSz="960120"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4pPr>
            <a:lvl5pPr marR="0" algn="l" defTabSz="960120"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5pPr>
            <a:lvl6pPr marR="0" algn="l" defTabSz="960120" rtl="0" eaLnBrk="1" fontAlgn="base" latinLnBrk="0" hangingPunct="1">
              <a:lnSpc>
                <a:spcPct val="100000"/>
              </a:lnSpc>
              <a:spcAft>
                <a:spcPct val="0"/>
              </a:spcAft>
              <a:buFont typeface="Arial" pitchFamily="34" charset="0"/>
              <a:tabLst/>
              <a:defRPr kumimoji="0" lang="en-US" sz="189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Placeholder 10"/>
          <p:cNvSpPr>
            <a:spLocks noGrp="1"/>
          </p:cNvSpPr>
          <p:nvPr>
            <p:ph type="title"/>
          </p:nvPr>
        </p:nvSpPr>
        <p:spPr bwMode="gray">
          <a:xfrm>
            <a:off x="564071" y="441174"/>
            <a:ext cx="11662258" cy="429348"/>
          </a:xfrm>
          <a:prstGeom prst="rect">
            <a:avLst/>
          </a:prstGeom>
        </p:spPr>
        <p:txBody>
          <a:bodyPr wrap="square" lIns="0" tIns="0" rIns="0" bIns="0" anchor="t" anchorCtr="0">
            <a:spAutoFit/>
          </a:bodyPr>
          <a:lstStyle/>
          <a:p>
            <a:pPr marL="0" marR="0" lvl="0" indent="0" algn="l" defTabSz="96012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88782230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userDrawn="1">
  <p:cSld name="40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66738" y="1586865"/>
            <a:ext cx="11662258" cy="5533949"/>
          </a:xfrm>
          <a:prstGeom prst="rect">
            <a:avLst/>
          </a:prstGeom>
        </p:spPr>
        <p:txBody>
          <a:bodyPr vert="horz" lIns="0" tIns="0" rIns="0" bIns="0" rtlCol="0">
            <a:noAutofit/>
          </a:bodyPr>
          <a:lstStyle>
            <a:lvl1pPr marL="0" marR="0" indent="0" algn="l" defTabSz="960120" rtl="0" eaLnBrk="1" fontAlgn="base" latinLnBrk="0" hangingPunct="1">
              <a:lnSpc>
                <a:spcPct val="100000"/>
              </a:lnSpc>
              <a:spcBef>
                <a:spcPts val="2310"/>
              </a:spcBef>
              <a:spcAft>
                <a:spcPct val="0"/>
              </a:spcAft>
              <a:buClrTx/>
              <a:buSzTx/>
              <a:buFont typeface="Arial" pitchFamily="34" charset="0"/>
              <a:buNone/>
              <a:tabLst/>
              <a:defRPr kumimoji="0" lang="en-US" sz="2520" b="0" i="0" u="none" strike="noStrike" kern="1200" cap="none" normalizeH="0" baseline="0" dirty="0" smtClean="0">
                <a:ln>
                  <a:noFill/>
                </a:ln>
                <a:solidFill>
                  <a:schemeClr val="tx2"/>
                </a:solidFill>
                <a:effectLst/>
                <a:latin typeface="+mn-lt"/>
                <a:ea typeface="+mn-ea"/>
                <a:cs typeface="Arial" pitchFamily="34" charset="0"/>
              </a:defRPr>
            </a:lvl1pPr>
            <a:lvl2pPr marL="240030" marR="0" indent="-238364" algn="l" defTabSz="960120" rtl="0" eaLnBrk="1" fontAlgn="base" latinLnBrk="0" hangingPunct="1">
              <a:lnSpc>
                <a:spcPct val="100000"/>
              </a:lnSpc>
              <a:spcAft>
                <a:spcPct val="0"/>
              </a:spcAft>
              <a:buFont typeface="Arial" pitchFamily="34" charset="0"/>
              <a:tabLst/>
              <a:defRPr kumimoji="0" lang="en-US" sz="2520" b="0" i="0" u="none" strike="noStrike" kern="1200" cap="none" normalizeH="0" baseline="0" dirty="0" smtClean="0">
                <a:ln>
                  <a:noFill/>
                </a:ln>
                <a:solidFill>
                  <a:schemeClr val="tx2"/>
                </a:solidFill>
                <a:effectLst/>
                <a:latin typeface="+mn-lt"/>
                <a:ea typeface="+mn-ea"/>
                <a:cs typeface="Arial" pitchFamily="34" charset="0"/>
              </a:defRPr>
            </a:lvl2pPr>
            <a:lvl3pPr marR="0" algn="l" defTabSz="960120"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3pPr>
            <a:lvl4pPr marR="0" algn="l" defTabSz="960120"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4pPr>
            <a:lvl5pPr marR="0" algn="l" defTabSz="960120"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5pPr>
            <a:lvl6pPr marR="0" algn="l" defTabSz="960120" rtl="0" eaLnBrk="1" fontAlgn="base" latinLnBrk="0" hangingPunct="1">
              <a:lnSpc>
                <a:spcPct val="100000"/>
              </a:lnSpc>
              <a:spcAft>
                <a:spcPct val="0"/>
              </a:spcAft>
              <a:buFont typeface="Arial" pitchFamily="34" charset="0"/>
              <a:tabLst/>
              <a:defRPr kumimoji="0" lang="en-US" sz="189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Placeholder 10"/>
          <p:cNvSpPr>
            <a:spLocks noGrp="1"/>
          </p:cNvSpPr>
          <p:nvPr>
            <p:ph type="title"/>
          </p:nvPr>
        </p:nvSpPr>
        <p:spPr bwMode="gray">
          <a:xfrm>
            <a:off x="564071" y="441174"/>
            <a:ext cx="11662258" cy="429348"/>
          </a:xfrm>
          <a:prstGeom prst="rect">
            <a:avLst/>
          </a:prstGeom>
        </p:spPr>
        <p:txBody>
          <a:bodyPr wrap="square" lIns="0" tIns="0" rIns="0" bIns="0" anchor="t" anchorCtr="0">
            <a:spAutoFit/>
          </a:bodyPr>
          <a:lstStyle/>
          <a:p>
            <a:pPr marL="0" marR="0" lvl="0" indent="0" algn="l" defTabSz="96012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90132889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41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66738" y="1586865"/>
            <a:ext cx="11662258" cy="5533949"/>
          </a:xfrm>
          <a:prstGeom prst="rect">
            <a:avLst/>
          </a:prstGeom>
        </p:spPr>
        <p:txBody>
          <a:bodyPr vert="horz" lIns="0" tIns="0" rIns="0" bIns="0" rtlCol="0">
            <a:noAutofit/>
          </a:bodyPr>
          <a:lstStyle>
            <a:lvl1pPr marL="0" marR="0" indent="0" algn="l" defTabSz="960120" rtl="0" eaLnBrk="1" fontAlgn="base" latinLnBrk="0" hangingPunct="1">
              <a:lnSpc>
                <a:spcPct val="100000"/>
              </a:lnSpc>
              <a:spcBef>
                <a:spcPts val="2310"/>
              </a:spcBef>
              <a:spcAft>
                <a:spcPct val="0"/>
              </a:spcAft>
              <a:buClrTx/>
              <a:buSzTx/>
              <a:buFont typeface="Arial" pitchFamily="34" charset="0"/>
              <a:buNone/>
              <a:tabLst/>
              <a:defRPr kumimoji="0" lang="en-US" sz="2520" b="0" i="0" u="none" strike="noStrike" kern="1200" cap="none" normalizeH="0" baseline="0" dirty="0" smtClean="0">
                <a:ln>
                  <a:noFill/>
                </a:ln>
                <a:solidFill>
                  <a:schemeClr val="tx2"/>
                </a:solidFill>
                <a:effectLst/>
                <a:latin typeface="+mn-lt"/>
                <a:ea typeface="+mn-ea"/>
                <a:cs typeface="Arial" pitchFamily="34" charset="0"/>
              </a:defRPr>
            </a:lvl1pPr>
            <a:lvl2pPr marL="240030" marR="0" indent="-238364" algn="l" defTabSz="960120" rtl="0" eaLnBrk="1" fontAlgn="base" latinLnBrk="0" hangingPunct="1">
              <a:lnSpc>
                <a:spcPct val="100000"/>
              </a:lnSpc>
              <a:spcAft>
                <a:spcPct val="0"/>
              </a:spcAft>
              <a:buFont typeface="Arial" pitchFamily="34" charset="0"/>
              <a:tabLst/>
              <a:defRPr kumimoji="0" lang="en-US" sz="2520" b="0" i="0" u="none" strike="noStrike" kern="1200" cap="none" normalizeH="0" baseline="0" dirty="0" smtClean="0">
                <a:ln>
                  <a:noFill/>
                </a:ln>
                <a:solidFill>
                  <a:schemeClr val="tx2"/>
                </a:solidFill>
                <a:effectLst/>
                <a:latin typeface="+mn-lt"/>
                <a:ea typeface="+mn-ea"/>
                <a:cs typeface="Arial" pitchFamily="34" charset="0"/>
              </a:defRPr>
            </a:lvl2pPr>
            <a:lvl3pPr marR="0" algn="l" defTabSz="960120"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3pPr>
            <a:lvl4pPr marR="0" algn="l" defTabSz="960120"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4pPr>
            <a:lvl5pPr marR="0" algn="l" defTabSz="960120"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5pPr>
            <a:lvl6pPr marR="0" algn="l" defTabSz="960120" rtl="0" eaLnBrk="1" fontAlgn="base" latinLnBrk="0" hangingPunct="1">
              <a:lnSpc>
                <a:spcPct val="100000"/>
              </a:lnSpc>
              <a:spcAft>
                <a:spcPct val="0"/>
              </a:spcAft>
              <a:buFont typeface="Arial" pitchFamily="34" charset="0"/>
              <a:tabLst/>
              <a:defRPr kumimoji="0" lang="en-US" sz="189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Placeholder 10"/>
          <p:cNvSpPr>
            <a:spLocks noGrp="1"/>
          </p:cNvSpPr>
          <p:nvPr>
            <p:ph type="title"/>
          </p:nvPr>
        </p:nvSpPr>
        <p:spPr bwMode="gray">
          <a:xfrm>
            <a:off x="564071" y="441174"/>
            <a:ext cx="11662258" cy="429348"/>
          </a:xfrm>
          <a:prstGeom prst="rect">
            <a:avLst/>
          </a:prstGeom>
        </p:spPr>
        <p:txBody>
          <a:bodyPr wrap="square" lIns="0" tIns="0" rIns="0" bIns="0" anchor="t" anchorCtr="0">
            <a:spAutoFit/>
          </a:bodyPr>
          <a:lstStyle/>
          <a:p>
            <a:pPr marL="0" marR="0" lvl="0" indent="0" algn="l" defTabSz="96012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85793508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42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66738" y="1586865"/>
            <a:ext cx="11662258" cy="5533949"/>
          </a:xfrm>
          <a:prstGeom prst="rect">
            <a:avLst/>
          </a:prstGeom>
        </p:spPr>
        <p:txBody>
          <a:bodyPr vert="horz" lIns="0" tIns="0" rIns="0" bIns="0" rtlCol="0">
            <a:noAutofit/>
          </a:bodyPr>
          <a:lstStyle>
            <a:lvl1pPr marL="0" marR="0" indent="0" algn="l" defTabSz="960120" rtl="0" eaLnBrk="1" fontAlgn="base" latinLnBrk="0" hangingPunct="1">
              <a:lnSpc>
                <a:spcPct val="100000"/>
              </a:lnSpc>
              <a:spcBef>
                <a:spcPts val="2310"/>
              </a:spcBef>
              <a:spcAft>
                <a:spcPct val="0"/>
              </a:spcAft>
              <a:buClrTx/>
              <a:buSzTx/>
              <a:buFont typeface="Arial" pitchFamily="34" charset="0"/>
              <a:buNone/>
              <a:tabLst/>
              <a:defRPr kumimoji="0" lang="en-US" sz="2520" b="0" i="0" u="none" strike="noStrike" kern="1200" cap="none" normalizeH="0" baseline="0" dirty="0" smtClean="0">
                <a:ln>
                  <a:noFill/>
                </a:ln>
                <a:solidFill>
                  <a:schemeClr val="tx2"/>
                </a:solidFill>
                <a:effectLst/>
                <a:latin typeface="+mn-lt"/>
                <a:ea typeface="+mn-ea"/>
                <a:cs typeface="Arial" pitchFamily="34" charset="0"/>
              </a:defRPr>
            </a:lvl1pPr>
            <a:lvl2pPr marL="240030" marR="0" indent="-238364" algn="l" defTabSz="960120" rtl="0" eaLnBrk="1" fontAlgn="base" latinLnBrk="0" hangingPunct="1">
              <a:lnSpc>
                <a:spcPct val="100000"/>
              </a:lnSpc>
              <a:spcAft>
                <a:spcPct val="0"/>
              </a:spcAft>
              <a:buFont typeface="Arial" pitchFamily="34" charset="0"/>
              <a:tabLst/>
              <a:defRPr kumimoji="0" lang="en-US" sz="2520" b="0" i="0" u="none" strike="noStrike" kern="1200" cap="none" normalizeH="0" baseline="0" dirty="0" smtClean="0">
                <a:ln>
                  <a:noFill/>
                </a:ln>
                <a:solidFill>
                  <a:schemeClr val="tx2"/>
                </a:solidFill>
                <a:effectLst/>
                <a:latin typeface="+mn-lt"/>
                <a:ea typeface="+mn-ea"/>
                <a:cs typeface="Arial" pitchFamily="34" charset="0"/>
              </a:defRPr>
            </a:lvl2pPr>
            <a:lvl3pPr marR="0" algn="l" defTabSz="960120"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3pPr>
            <a:lvl4pPr marR="0" algn="l" defTabSz="960120"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4pPr>
            <a:lvl5pPr marR="0" algn="l" defTabSz="960120"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5pPr>
            <a:lvl6pPr marR="0" algn="l" defTabSz="960120" rtl="0" eaLnBrk="1" fontAlgn="base" latinLnBrk="0" hangingPunct="1">
              <a:lnSpc>
                <a:spcPct val="100000"/>
              </a:lnSpc>
              <a:spcAft>
                <a:spcPct val="0"/>
              </a:spcAft>
              <a:buFont typeface="Arial" pitchFamily="34" charset="0"/>
              <a:tabLst/>
              <a:defRPr kumimoji="0" lang="en-US" sz="189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Placeholder 10"/>
          <p:cNvSpPr>
            <a:spLocks noGrp="1"/>
          </p:cNvSpPr>
          <p:nvPr>
            <p:ph type="title"/>
          </p:nvPr>
        </p:nvSpPr>
        <p:spPr bwMode="gray">
          <a:xfrm>
            <a:off x="564071" y="441174"/>
            <a:ext cx="11662258" cy="429348"/>
          </a:xfrm>
          <a:prstGeom prst="rect">
            <a:avLst/>
          </a:prstGeom>
        </p:spPr>
        <p:txBody>
          <a:bodyPr wrap="square" lIns="0" tIns="0" rIns="0" bIns="0" anchor="t" anchorCtr="0">
            <a:spAutoFit/>
          </a:bodyPr>
          <a:lstStyle/>
          <a:p>
            <a:pPr marL="0" marR="0" lvl="0" indent="0" algn="l" defTabSz="96012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50604817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6304B3BE-F3A1-4058-91D7-01643B445FFE}" type="slidenum">
              <a:rPr lang="en-AU" smtClean="0">
                <a:solidFill>
                  <a:prstClr val="black"/>
                </a:solidFill>
              </a:rPr>
              <a:pPr/>
              <a:t>‹#›</a:t>
            </a:fld>
            <a:endParaRPr lang="en-AU" dirty="0">
              <a:solidFill>
                <a:prstClr val="black"/>
              </a:solidFill>
            </a:endParaRPr>
          </a:p>
        </p:txBody>
      </p:sp>
    </p:spTree>
    <p:extLst>
      <p:ext uri="{BB962C8B-B14F-4D97-AF65-F5344CB8AC3E}">
        <p14:creationId xmlns:p14="http://schemas.microsoft.com/office/powerpoint/2010/main" val="95213773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75458" name="Rectangle 2"/>
          <p:cNvSpPr>
            <a:spLocks noGrp="1" noChangeArrowheads="1"/>
          </p:cNvSpPr>
          <p:nvPr>
            <p:ph type="ctrTitle"/>
          </p:nvPr>
        </p:nvSpPr>
        <p:spPr>
          <a:xfrm>
            <a:off x="500064" y="2236365"/>
            <a:ext cx="11737022" cy="1525693"/>
          </a:xfrm>
        </p:spPr>
        <p:txBody>
          <a:bodyPr/>
          <a:lstStyle>
            <a:lvl1pPr>
              <a:lnSpc>
                <a:spcPts val="6814"/>
              </a:lnSpc>
              <a:defRPr sz="7700">
                <a:latin typeface="Times New Roman" pitchFamily="18" charset="0"/>
              </a:defRPr>
            </a:lvl1pPr>
          </a:lstStyle>
          <a:p>
            <a:r>
              <a:rPr lang="en-US" altLang="en-GB" smtClean="0"/>
              <a:t>Click to edit Master title style</a:t>
            </a:r>
            <a:endParaRPr lang="en-GB" altLang="en-GB"/>
          </a:p>
        </p:txBody>
      </p:sp>
      <p:sp>
        <p:nvSpPr>
          <p:cNvPr id="275459" name="Rectangle 3"/>
          <p:cNvSpPr>
            <a:spLocks noGrp="1" noChangeArrowheads="1"/>
          </p:cNvSpPr>
          <p:nvPr>
            <p:ph type="subTitle" idx="1"/>
          </p:nvPr>
        </p:nvSpPr>
        <p:spPr>
          <a:xfrm>
            <a:off x="533400" y="4073313"/>
            <a:ext cx="7558723" cy="287867"/>
          </a:xfrm>
        </p:spPr>
        <p:txBody>
          <a:bodyPr/>
          <a:lstStyle>
            <a:lvl1pPr marL="0" indent="0">
              <a:lnSpc>
                <a:spcPct val="107000"/>
              </a:lnSpc>
              <a:spcAft>
                <a:spcPct val="0"/>
              </a:spcAft>
              <a:buFontTx/>
              <a:buNone/>
              <a:defRPr sz="1800"/>
            </a:lvl1pPr>
          </a:lstStyle>
          <a:p>
            <a:r>
              <a:rPr lang="en-US" altLang="en-GB" smtClean="0"/>
              <a:t>Click to edit Master subtitle style</a:t>
            </a:r>
            <a:endParaRPr lang="en-GB" altLang="en-GB"/>
          </a:p>
        </p:txBody>
      </p:sp>
      <p:sp>
        <p:nvSpPr>
          <p:cNvPr id="4" name="Slide Number Placeholder 3"/>
          <p:cNvSpPr>
            <a:spLocks noGrp="1"/>
          </p:cNvSpPr>
          <p:nvPr>
            <p:ph type="sldNum" sz="quarter" idx="10"/>
          </p:nvPr>
        </p:nvSpPr>
        <p:spPr/>
        <p:txBody>
          <a:bodyPr/>
          <a:lstStyle/>
          <a:p>
            <a:fld id="{6304B3BE-F3A1-4058-91D7-01643B445FFE}" type="slidenum">
              <a:rPr lang="en-AU" smtClean="0">
                <a:solidFill>
                  <a:prstClr val="black"/>
                </a:solidFill>
              </a:rPr>
              <a:pPr/>
              <a:t>‹#›</a:t>
            </a:fld>
            <a:endParaRPr lang="en-AU" dirty="0">
              <a:solidFill>
                <a:prstClr val="black"/>
              </a:solidFill>
            </a:endParaRPr>
          </a:p>
        </p:txBody>
      </p:sp>
    </p:spTree>
    <p:extLst>
      <p:ext uri="{BB962C8B-B14F-4D97-AF65-F5344CB8AC3E}">
        <p14:creationId xmlns:p14="http://schemas.microsoft.com/office/powerpoint/2010/main" val="3999749287"/>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4" name="Slide Number Placeholder 3"/>
          <p:cNvSpPr>
            <a:spLocks noGrp="1"/>
          </p:cNvSpPr>
          <p:nvPr>
            <p:ph type="sldNum" sz="quarter" idx="11"/>
          </p:nvPr>
        </p:nvSpPr>
        <p:spPr/>
        <p:txBody>
          <a:bodyPr/>
          <a:lstStyle/>
          <a:p>
            <a:fld id="{6304B3BE-F3A1-4058-91D7-01643B445FFE}" type="slidenum">
              <a:rPr lang="en-AU" smtClean="0">
                <a:solidFill>
                  <a:prstClr val="black"/>
                </a:solidFill>
              </a:rPr>
              <a:pPr/>
              <a:t>‹#›</a:t>
            </a:fld>
            <a:endParaRPr lang="en-AU" dirty="0">
              <a:solidFill>
                <a:prstClr val="black"/>
              </a:solidFill>
            </a:endParaRPr>
          </a:p>
        </p:txBody>
      </p:sp>
    </p:spTree>
    <p:extLst>
      <p:ext uri="{BB962C8B-B14F-4D97-AF65-F5344CB8AC3E}">
        <p14:creationId xmlns:p14="http://schemas.microsoft.com/office/powerpoint/2010/main" val="2647359451"/>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5pPr>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4" name="Slide Number Placeholder 3"/>
          <p:cNvSpPr>
            <a:spLocks noGrp="1"/>
          </p:cNvSpPr>
          <p:nvPr>
            <p:ph type="sldNum" sz="quarter" idx="11"/>
          </p:nvPr>
        </p:nvSpPr>
        <p:spPr/>
        <p:txBody>
          <a:bodyPr/>
          <a:lstStyle/>
          <a:p>
            <a:fld id="{6304B3BE-F3A1-4058-91D7-01643B445FFE}" type="slidenum">
              <a:rPr lang="en-AU" smtClean="0">
                <a:solidFill>
                  <a:prstClr val="black"/>
                </a:solidFill>
              </a:rPr>
              <a:pPr/>
              <a:t>‹#›</a:t>
            </a:fld>
            <a:endParaRPr lang="en-AU" dirty="0">
              <a:solidFill>
                <a:prstClr val="black"/>
              </a:solidFill>
            </a:endParaRPr>
          </a:p>
        </p:txBody>
      </p:sp>
    </p:spTree>
    <p:extLst>
      <p:ext uri="{BB962C8B-B14F-4D97-AF65-F5344CB8AC3E}">
        <p14:creationId xmlns:p14="http://schemas.microsoft.com/office/powerpoint/2010/main" val="2359746840"/>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515620" y="1482514"/>
            <a:ext cx="5769610" cy="5676371"/>
          </a:xfrm>
        </p:spPr>
        <p:txBody>
          <a:bodyPr/>
          <a:lstStyle>
            <a:lvl1pPr>
              <a:defRPr sz="3600"/>
            </a:lvl1pPr>
            <a:lvl2pPr>
              <a:defRPr sz="3100"/>
            </a:lvl2pPr>
            <a:lvl3pPr>
              <a:defRPr sz="2600"/>
            </a:lvl3pPr>
            <a:lvl4pPr>
              <a:defRPr sz="2300"/>
            </a:lvl4pPr>
            <a:lvl5pPr>
              <a:defRPr sz="2300"/>
            </a:lvl5pPr>
            <a:lvl6pPr>
              <a:defRPr sz="2300"/>
            </a:lvl6pPr>
            <a:lvl7pPr>
              <a:defRPr sz="2300"/>
            </a:lvl7pPr>
            <a:lvl8pPr>
              <a:defRPr sz="2300"/>
            </a:lvl8pPr>
            <a:lvl9pPr>
              <a:defRPr sz="2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6498590" y="1482514"/>
            <a:ext cx="5769610" cy="5676371"/>
          </a:xfrm>
        </p:spPr>
        <p:txBody>
          <a:bodyPr/>
          <a:lstStyle>
            <a:lvl1pPr>
              <a:defRPr sz="3600"/>
            </a:lvl1pPr>
            <a:lvl2pPr>
              <a:defRPr sz="3100"/>
            </a:lvl2pPr>
            <a:lvl3pPr>
              <a:defRPr sz="2600"/>
            </a:lvl3pPr>
            <a:lvl4pPr>
              <a:defRPr sz="2300"/>
            </a:lvl4pPr>
            <a:lvl5pPr>
              <a:defRPr sz="2300"/>
            </a:lvl5pPr>
            <a:lvl6pPr>
              <a:defRPr sz="2300"/>
            </a:lvl6pPr>
            <a:lvl7pPr>
              <a:defRPr sz="2300"/>
            </a:lvl7pPr>
            <a:lvl8pPr>
              <a:defRPr sz="2300"/>
            </a:lvl8pPr>
            <a:lvl9pPr>
              <a:defRPr sz="2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10" name="Slide Number Placeholder 9"/>
          <p:cNvSpPr>
            <a:spLocks noGrp="1"/>
          </p:cNvSpPr>
          <p:nvPr>
            <p:ph type="sldNum" sz="quarter" idx="10"/>
          </p:nvPr>
        </p:nvSpPr>
        <p:spPr/>
        <p:txBody>
          <a:bodyPr/>
          <a:lstStyle/>
          <a:p>
            <a:fld id="{6304B3BE-F3A1-4058-91D7-01643B445FFE}" type="slidenum">
              <a:rPr lang="en-AU" smtClean="0">
                <a:solidFill>
                  <a:prstClr val="black"/>
                </a:solidFill>
              </a:rPr>
              <a:pPr/>
              <a:t>‹#›</a:t>
            </a:fld>
            <a:endParaRPr lang="en-AU" dirty="0">
              <a:solidFill>
                <a:prstClr val="black"/>
              </a:solidFill>
            </a:endParaRPr>
          </a:p>
        </p:txBody>
      </p:sp>
    </p:spTree>
    <p:extLst>
      <p:ext uri="{BB962C8B-B14F-4D97-AF65-F5344CB8AC3E}">
        <p14:creationId xmlns:p14="http://schemas.microsoft.com/office/powerpoint/2010/main" val="3086130399"/>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11256"/>
            <a:ext cx="11521440" cy="1295400"/>
          </a:xfrm>
        </p:spPr>
        <p:txBody>
          <a:bodyPr/>
          <a:lstStyle>
            <a:lvl1pPr>
              <a:defRPr/>
            </a:lvl1pPr>
          </a:lstStyle>
          <a:p>
            <a:r>
              <a:rPr lang="en-US" smtClean="0"/>
              <a:t>Click to edit Master title style</a:t>
            </a:r>
            <a:endParaRPr lang="en-AU"/>
          </a:p>
        </p:txBody>
      </p:sp>
      <p:sp>
        <p:nvSpPr>
          <p:cNvPr id="3" name="Text Placeholder 2"/>
          <p:cNvSpPr>
            <a:spLocks noGrp="1"/>
          </p:cNvSpPr>
          <p:nvPr>
            <p:ph type="body" idx="1"/>
          </p:nvPr>
        </p:nvSpPr>
        <p:spPr>
          <a:xfrm>
            <a:off x="640080" y="1739795"/>
            <a:ext cx="5656263" cy="725064"/>
          </a:xfrm>
        </p:spPr>
        <p:txBody>
          <a:bodyPr anchor="b"/>
          <a:lstStyle>
            <a:lvl1pPr marL="0" indent="0">
              <a:buNone/>
              <a:defRPr sz="3100" b="1"/>
            </a:lvl1pPr>
            <a:lvl2pPr marL="587822" indent="0">
              <a:buNone/>
              <a:defRPr sz="2600" b="1"/>
            </a:lvl2pPr>
            <a:lvl3pPr marL="1175644" indent="0">
              <a:buNone/>
              <a:defRPr sz="2300" b="1"/>
            </a:lvl3pPr>
            <a:lvl4pPr marL="1763466" indent="0">
              <a:buNone/>
              <a:defRPr sz="2100" b="1"/>
            </a:lvl4pPr>
            <a:lvl5pPr marL="2351288" indent="0">
              <a:buNone/>
              <a:defRPr sz="2100" b="1"/>
            </a:lvl5pPr>
            <a:lvl6pPr marL="2939110" indent="0">
              <a:buNone/>
              <a:defRPr sz="2100" b="1"/>
            </a:lvl6pPr>
            <a:lvl7pPr marL="3526932" indent="0">
              <a:buNone/>
              <a:defRPr sz="2100" b="1"/>
            </a:lvl7pPr>
            <a:lvl8pPr marL="4114754" indent="0">
              <a:buNone/>
              <a:defRPr sz="2100" b="1"/>
            </a:lvl8pPr>
            <a:lvl9pPr marL="4702576" indent="0">
              <a:buNone/>
              <a:defRPr sz="2100" b="1"/>
            </a:lvl9pPr>
          </a:lstStyle>
          <a:p>
            <a:pPr lvl="0"/>
            <a:r>
              <a:rPr lang="en-US" smtClean="0"/>
              <a:t>Click to edit Master text styles</a:t>
            </a:r>
          </a:p>
        </p:txBody>
      </p:sp>
      <p:sp>
        <p:nvSpPr>
          <p:cNvPr id="4" name="Content Placeholder 3"/>
          <p:cNvSpPr>
            <a:spLocks noGrp="1"/>
          </p:cNvSpPr>
          <p:nvPr>
            <p:ph sz="half" idx="2"/>
          </p:nvPr>
        </p:nvSpPr>
        <p:spPr>
          <a:xfrm>
            <a:off x="640080" y="2464859"/>
            <a:ext cx="5656263" cy="4478126"/>
          </a:xfrm>
        </p:spPr>
        <p:txBody>
          <a:bodyPr/>
          <a:lstStyle>
            <a:lvl1pPr>
              <a:defRPr sz="3100"/>
            </a:lvl1pPr>
            <a:lvl2pPr>
              <a:defRPr sz="2600"/>
            </a:lvl2pPr>
            <a:lvl3pPr>
              <a:defRPr sz="2300"/>
            </a:lvl3pPr>
            <a:lvl4pPr>
              <a:defRPr sz="21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6503036" y="1739795"/>
            <a:ext cx="5658485" cy="725064"/>
          </a:xfrm>
        </p:spPr>
        <p:txBody>
          <a:bodyPr anchor="b"/>
          <a:lstStyle>
            <a:lvl1pPr marL="0" indent="0">
              <a:buNone/>
              <a:defRPr sz="3100" b="1"/>
            </a:lvl1pPr>
            <a:lvl2pPr marL="587822" indent="0">
              <a:buNone/>
              <a:defRPr sz="2600" b="1"/>
            </a:lvl2pPr>
            <a:lvl3pPr marL="1175644" indent="0">
              <a:buNone/>
              <a:defRPr sz="2300" b="1"/>
            </a:lvl3pPr>
            <a:lvl4pPr marL="1763466" indent="0">
              <a:buNone/>
              <a:defRPr sz="2100" b="1"/>
            </a:lvl4pPr>
            <a:lvl5pPr marL="2351288" indent="0">
              <a:buNone/>
              <a:defRPr sz="2100" b="1"/>
            </a:lvl5pPr>
            <a:lvl6pPr marL="2939110" indent="0">
              <a:buNone/>
              <a:defRPr sz="2100" b="1"/>
            </a:lvl6pPr>
            <a:lvl7pPr marL="3526932" indent="0">
              <a:buNone/>
              <a:defRPr sz="2100" b="1"/>
            </a:lvl7pPr>
            <a:lvl8pPr marL="4114754" indent="0">
              <a:buNone/>
              <a:defRPr sz="2100" b="1"/>
            </a:lvl8pPr>
            <a:lvl9pPr marL="4702576" indent="0">
              <a:buNone/>
              <a:defRPr sz="2100" b="1"/>
            </a:lvl9pPr>
          </a:lstStyle>
          <a:p>
            <a:pPr lvl="0"/>
            <a:r>
              <a:rPr lang="en-US" smtClean="0"/>
              <a:t>Click to edit Master text styles</a:t>
            </a:r>
          </a:p>
        </p:txBody>
      </p:sp>
      <p:sp>
        <p:nvSpPr>
          <p:cNvPr id="6" name="Content Placeholder 5"/>
          <p:cNvSpPr>
            <a:spLocks noGrp="1"/>
          </p:cNvSpPr>
          <p:nvPr>
            <p:ph sz="quarter" idx="4"/>
          </p:nvPr>
        </p:nvSpPr>
        <p:spPr>
          <a:xfrm>
            <a:off x="6503036" y="2464859"/>
            <a:ext cx="5658485" cy="4478126"/>
          </a:xfrm>
        </p:spPr>
        <p:txBody>
          <a:bodyPr/>
          <a:lstStyle>
            <a:lvl1pPr>
              <a:defRPr sz="3100"/>
            </a:lvl1pPr>
            <a:lvl2pPr>
              <a:defRPr sz="2600"/>
            </a:lvl2pPr>
            <a:lvl3pPr>
              <a:defRPr sz="2300"/>
            </a:lvl3pPr>
            <a:lvl4pPr>
              <a:defRPr sz="21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12" name="Slide Number Placeholder 11"/>
          <p:cNvSpPr>
            <a:spLocks noGrp="1"/>
          </p:cNvSpPr>
          <p:nvPr>
            <p:ph type="sldNum" sz="quarter" idx="10"/>
          </p:nvPr>
        </p:nvSpPr>
        <p:spPr/>
        <p:txBody>
          <a:bodyPr/>
          <a:lstStyle/>
          <a:p>
            <a:fld id="{6304B3BE-F3A1-4058-91D7-01643B445FFE}" type="slidenum">
              <a:rPr lang="en-AU" smtClean="0">
                <a:solidFill>
                  <a:prstClr val="black"/>
                </a:solidFill>
              </a:rPr>
              <a:pPr/>
              <a:t>‹#›</a:t>
            </a:fld>
            <a:endParaRPr lang="en-AU" dirty="0">
              <a:solidFill>
                <a:prstClr val="black"/>
              </a:solidFill>
            </a:endParaRPr>
          </a:p>
        </p:txBody>
      </p:sp>
    </p:spTree>
    <p:extLst>
      <p:ext uri="{BB962C8B-B14F-4D97-AF65-F5344CB8AC3E}">
        <p14:creationId xmlns:p14="http://schemas.microsoft.com/office/powerpoint/2010/main" val="412736797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576090" y="2123014"/>
            <a:ext cx="5598817" cy="1933863"/>
          </a:xfrm>
          <a:prstGeom prst="rect">
            <a:avLst/>
          </a:prstGeom>
        </p:spPr>
        <p:txBody>
          <a:bodyPr/>
          <a:lstStyle>
            <a:lvl1pPr>
              <a:defRPr>
                <a:latin typeface="Calibri" pitchFamily="34" charset="0"/>
              </a:defRPr>
            </a:lvl1pPr>
            <a:lvl2pPr>
              <a:defRPr lang="en-US" sz="2300" kern="1200" dirty="0" smtClean="0">
                <a:solidFill>
                  <a:schemeClr val="tx2"/>
                </a:solidFill>
                <a:latin typeface="Calibri" pitchFamily="34" charset="0"/>
                <a:ea typeface="+mn-ea"/>
                <a:cs typeface="+mn-cs"/>
              </a:defRPr>
            </a:lvl2pPr>
            <a:lvl3pPr>
              <a:defRPr lang="en-US" sz="2100" kern="1200" dirty="0" smtClean="0">
                <a:solidFill>
                  <a:schemeClr val="tx2"/>
                </a:solidFill>
                <a:latin typeface="Calibri" pitchFamily="34" charset="0"/>
                <a:ea typeface="+mn-ea"/>
                <a:cs typeface="+mn-cs"/>
              </a:defRPr>
            </a:lvl3pPr>
            <a:lvl4pPr>
              <a:defRPr lang="en-US" sz="2100" kern="1200" dirty="0" smtClean="0">
                <a:solidFill>
                  <a:schemeClr val="tx2"/>
                </a:solidFill>
                <a:latin typeface="Calibri" pitchFamily="34" charset="0"/>
                <a:ea typeface="+mn-ea"/>
                <a:cs typeface="+mn-cs"/>
              </a:defRPr>
            </a:lvl4pPr>
            <a:lvl5pPr>
              <a:defRPr lang="en-US" sz="2100" kern="1200" dirty="0">
                <a:solidFill>
                  <a:schemeClr val="tx2"/>
                </a:solidFill>
                <a:latin typeface="Calibri"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bwMode="gray">
          <a:xfrm>
            <a:off x="580073" y="1583268"/>
            <a:ext cx="5594299" cy="353943"/>
          </a:xfrm>
          <a:prstGeom prst="rect">
            <a:avLst/>
          </a:prstGeom>
        </p:spPr>
        <p:txBody>
          <a:bodyPr>
            <a:spAutoFit/>
          </a:bodyPr>
          <a:lstStyle>
            <a:lvl1pPr>
              <a:defRPr sz="2300" b="1">
                <a:latin typeface="Calibri" pitchFamily="34" charset="0"/>
              </a:defRPr>
            </a:lvl1pPr>
          </a:lstStyle>
          <a:p>
            <a:pPr lvl="0"/>
            <a:r>
              <a:rPr lang="en-US" dirty="0" smtClean="0"/>
              <a:t>Click to edit Master text styles</a:t>
            </a:r>
          </a:p>
        </p:txBody>
      </p:sp>
      <p:sp>
        <p:nvSpPr>
          <p:cNvPr id="14" name="Text Placeholder 13"/>
          <p:cNvSpPr>
            <a:spLocks noGrp="1"/>
          </p:cNvSpPr>
          <p:nvPr>
            <p:ph type="body" sz="quarter" idx="15"/>
          </p:nvPr>
        </p:nvSpPr>
        <p:spPr bwMode="gray">
          <a:xfrm>
            <a:off x="576072" y="6965634"/>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rgbClr val="002776"/>
                </a:solidFill>
                <a:latin typeface="Calibri" pitchFamily="34" charset="0"/>
                <a:ea typeface="+mn-ea"/>
                <a:cs typeface="Calibri"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p:txBody>
      </p:sp>
      <p:sp>
        <p:nvSpPr>
          <p:cNvPr id="15" name="Text Placeholder 13"/>
          <p:cNvSpPr>
            <a:spLocks noGrp="1"/>
          </p:cNvSpPr>
          <p:nvPr>
            <p:ph type="body" sz="quarter" idx="16"/>
          </p:nvPr>
        </p:nvSpPr>
        <p:spPr bwMode="gray">
          <a:xfrm>
            <a:off x="6632986" y="6965634"/>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rgbClr val="002776"/>
                </a:solidFill>
                <a:latin typeface="Calibri" pitchFamily="34" charset="0"/>
                <a:ea typeface="+mn-ea"/>
                <a:cs typeface="Calibri"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p:txBody>
      </p:sp>
      <p:sp>
        <p:nvSpPr>
          <p:cNvPr id="17" name="Text Placeholder 18"/>
          <p:cNvSpPr>
            <a:spLocks noGrp="1"/>
          </p:cNvSpPr>
          <p:nvPr>
            <p:ph type="body" sz="quarter" idx="17"/>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3947"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10"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Calibri" pitchFamily="34" charset="0"/>
              </a:defRPr>
            </a:lvl1pPr>
          </a:lstStyle>
          <a:p>
            <a:pPr marL="0" marR="0" lvl="0" indent="0" algn="l" defTabSz="1173947"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11" name="Content Placeholder 20"/>
          <p:cNvSpPr>
            <a:spLocks noGrp="1"/>
          </p:cNvSpPr>
          <p:nvPr>
            <p:ph sz="quarter" idx="18"/>
          </p:nvPr>
        </p:nvSpPr>
        <p:spPr bwMode="gray">
          <a:xfrm>
            <a:off x="6614176" y="2123014"/>
            <a:ext cx="5598817" cy="1933863"/>
          </a:xfrm>
          <a:prstGeom prst="rect">
            <a:avLst/>
          </a:prstGeom>
        </p:spPr>
        <p:txBody>
          <a:bodyPr/>
          <a:lstStyle>
            <a:lvl1pPr>
              <a:defRPr>
                <a:latin typeface="Calibri" pitchFamily="34" charset="0"/>
              </a:defRPr>
            </a:lvl1pPr>
            <a:lvl2pPr>
              <a:defRPr lang="en-US" sz="2300" kern="1200" dirty="0" smtClean="0">
                <a:solidFill>
                  <a:schemeClr val="tx2"/>
                </a:solidFill>
                <a:latin typeface="Calibri" pitchFamily="34" charset="0"/>
                <a:ea typeface="+mn-ea"/>
                <a:cs typeface="+mn-cs"/>
              </a:defRPr>
            </a:lvl2pPr>
            <a:lvl3pPr>
              <a:defRPr lang="en-US" sz="2100" kern="1200" dirty="0" smtClean="0">
                <a:solidFill>
                  <a:schemeClr val="tx2"/>
                </a:solidFill>
                <a:latin typeface="Calibri" pitchFamily="34" charset="0"/>
                <a:ea typeface="+mn-ea"/>
                <a:cs typeface="+mn-cs"/>
              </a:defRPr>
            </a:lvl3pPr>
            <a:lvl4pPr>
              <a:defRPr lang="en-US" sz="2100" kern="1200" dirty="0" smtClean="0">
                <a:solidFill>
                  <a:schemeClr val="tx2"/>
                </a:solidFill>
                <a:latin typeface="Calibri" pitchFamily="34" charset="0"/>
                <a:ea typeface="+mn-ea"/>
                <a:cs typeface="+mn-cs"/>
              </a:defRPr>
            </a:lvl4pPr>
            <a:lvl5pPr>
              <a:defRPr lang="en-US" sz="2100" kern="1200" dirty="0">
                <a:solidFill>
                  <a:schemeClr val="tx2"/>
                </a:solidFill>
                <a:latin typeface="Calibri"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11"/>
          <p:cNvSpPr>
            <a:spLocks noGrp="1"/>
          </p:cNvSpPr>
          <p:nvPr>
            <p:ph type="body" sz="quarter" idx="19"/>
          </p:nvPr>
        </p:nvSpPr>
        <p:spPr bwMode="gray">
          <a:xfrm>
            <a:off x="6618164" y="1583268"/>
            <a:ext cx="5594299" cy="353943"/>
          </a:xfrm>
          <a:prstGeom prst="rect">
            <a:avLst/>
          </a:prstGeom>
        </p:spPr>
        <p:txBody>
          <a:bodyPr>
            <a:spAutoFit/>
          </a:bodyPr>
          <a:lstStyle>
            <a:lvl1pPr>
              <a:defRPr sz="2300" b="1">
                <a:latin typeface="Calibri"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332447262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0"/>
          </p:nvPr>
        </p:nvSpPr>
        <p:spPr/>
        <p:txBody>
          <a:bodyPr/>
          <a:lstStyle/>
          <a:p>
            <a:fld id="{6304B3BE-F3A1-4058-91D7-01643B445FFE}" type="slidenum">
              <a:rPr lang="en-AU" smtClean="0">
                <a:solidFill>
                  <a:prstClr val="black"/>
                </a:solidFill>
              </a:rPr>
              <a:pPr/>
              <a:t>‹#›</a:t>
            </a:fld>
            <a:endParaRPr lang="en-AU" dirty="0">
              <a:solidFill>
                <a:prstClr val="black"/>
              </a:solidFill>
            </a:endParaRPr>
          </a:p>
        </p:txBody>
      </p:sp>
    </p:spTree>
    <p:extLst>
      <p:ext uri="{BB962C8B-B14F-4D97-AF65-F5344CB8AC3E}">
        <p14:creationId xmlns:p14="http://schemas.microsoft.com/office/powerpoint/2010/main" val="3769031193"/>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1" y="309457"/>
            <a:ext cx="4211638" cy="1316990"/>
          </a:xfrm>
        </p:spPr>
        <p:txBody>
          <a:bodyPr anchor="b"/>
          <a:lstStyle>
            <a:lvl1pPr algn="l">
              <a:defRPr sz="2600" b="1"/>
            </a:lvl1pPr>
          </a:lstStyle>
          <a:p>
            <a:r>
              <a:rPr lang="en-US" smtClean="0"/>
              <a:t>Click to edit Master title style</a:t>
            </a:r>
            <a:endParaRPr lang="en-AU"/>
          </a:p>
        </p:txBody>
      </p:sp>
      <p:sp>
        <p:nvSpPr>
          <p:cNvPr id="3" name="Content Placeholder 2"/>
          <p:cNvSpPr>
            <a:spLocks noGrp="1"/>
          </p:cNvSpPr>
          <p:nvPr>
            <p:ph idx="1"/>
          </p:nvPr>
        </p:nvSpPr>
        <p:spPr>
          <a:xfrm>
            <a:off x="5005070" y="309457"/>
            <a:ext cx="7156450" cy="6633528"/>
          </a:xfrm>
        </p:spPr>
        <p:txBody>
          <a:bodyPr/>
          <a:lstStyle>
            <a:lvl1pPr>
              <a:defRPr sz="4100"/>
            </a:lvl1pPr>
            <a:lvl2pPr>
              <a:defRPr sz="3600"/>
            </a:lvl2pPr>
            <a:lvl3pPr>
              <a:defRPr sz="3100"/>
            </a:lvl3pPr>
            <a:lvl4pPr>
              <a:defRPr sz="2600"/>
            </a:lvl4pPr>
            <a:lvl5pPr>
              <a:defRPr sz="2600"/>
            </a:lvl5pPr>
            <a:lvl6pPr>
              <a:defRPr sz="2600"/>
            </a:lvl6pPr>
            <a:lvl7pPr>
              <a:defRPr sz="2600"/>
            </a:lvl7pPr>
            <a:lvl8pPr>
              <a:defRPr sz="2600"/>
            </a:lvl8pPr>
            <a:lvl9pPr>
              <a:defRPr sz="2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640081" y="1626447"/>
            <a:ext cx="4211638" cy="5316538"/>
          </a:xfrm>
        </p:spPr>
        <p:txBody>
          <a:bodyPr/>
          <a:lstStyle>
            <a:lvl1pPr marL="0" indent="0">
              <a:buNone/>
              <a:defRPr sz="1800"/>
            </a:lvl1pPr>
            <a:lvl2pPr marL="587822" indent="0">
              <a:buNone/>
              <a:defRPr sz="1500"/>
            </a:lvl2pPr>
            <a:lvl3pPr marL="1175644" indent="0">
              <a:buNone/>
              <a:defRPr sz="1300"/>
            </a:lvl3pPr>
            <a:lvl4pPr marL="1763466" indent="0">
              <a:buNone/>
              <a:defRPr sz="1200"/>
            </a:lvl4pPr>
            <a:lvl5pPr marL="2351288" indent="0">
              <a:buNone/>
              <a:defRPr sz="1200"/>
            </a:lvl5pPr>
            <a:lvl6pPr marL="2939110" indent="0">
              <a:buNone/>
              <a:defRPr sz="1200"/>
            </a:lvl6pPr>
            <a:lvl7pPr marL="3526932" indent="0">
              <a:buNone/>
              <a:defRPr sz="1200"/>
            </a:lvl7pPr>
            <a:lvl8pPr marL="4114754" indent="0">
              <a:buNone/>
              <a:defRPr sz="1200"/>
            </a:lvl8pPr>
            <a:lvl9pPr marL="4702576" indent="0">
              <a:buNone/>
              <a:defRPr sz="1200"/>
            </a:lvl9pPr>
          </a:lstStyle>
          <a:p>
            <a:pPr lvl="0"/>
            <a:r>
              <a:rPr lang="en-US" smtClean="0"/>
              <a:t>Click to edit Master text styles</a:t>
            </a:r>
          </a:p>
        </p:txBody>
      </p:sp>
      <p:sp>
        <p:nvSpPr>
          <p:cNvPr id="10" name="Slide Number Placeholder 9"/>
          <p:cNvSpPr>
            <a:spLocks noGrp="1"/>
          </p:cNvSpPr>
          <p:nvPr>
            <p:ph type="sldNum" sz="quarter" idx="10"/>
          </p:nvPr>
        </p:nvSpPr>
        <p:spPr/>
        <p:txBody>
          <a:bodyPr/>
          <a:lstStyle/>
          <a:p>
            <a:fld id="{6304B3BE-F3A1-4058-91D7-01643B445FFE}" type="slidenum">
              <a:rPr lang="en-AU" smtClean="0">
                <a:solidFill>
                  <a:prstClr val="black"/>
                </a:solidFill>
              </a:rPr>
              <a:pPr/>
              <a:t>‹#›</a:t>
            </a:fld>
            <a:endParaRPr lang="en-AU" dirty="0">
              <a:solidFill>
                <a:prstClr val="black"/>
              </a:solidFill>
            </a:endParaRPr>
          </a:p>
        </p:txBody>
      </p:sp>
    </p:spTree>
    <p:extLst>
      <p:ext uri="{BB962C8B-B14F-4D97-AF65-F5344CB8AC3E}">
        <p14:creationId xmlns:p14="http://schemas.microsoft.com/office/powerpoint/2010/main" val="3375230160"/>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title">
  <p:cSld name="Section Divider ">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599950" y="3026744"/>
            <a:ext cx="8557294" cy="1279264"/>
          </a:xfrm>
        </p:spPr>
        <p:txBody>
          <a:bodyPr/>
          <a:lstStyle>
            <a:lvl1pPr>
              <a:lnSpc>
                <a:spcPts val="5998"/>
              </a:lnSpc>
              <a:defRPr sz="6000" b="0">
                <a:solidFill>
                  <a:schemeClr val="bg2"/>
                </a:solidFill>
                <a:latin typeface="Times New Roman" pitchFamily="18" charset="0"/>
              </a:defRPr>
            </a:lvl1pPr>
          </a:lstStyle>
          <a:p>
            <a:r>
              <a:rPr lang="en-US" dirty="0" smtClean="0"/>
              <a:t>Click to edit Master title style</a:t>
            </a:r>
            <a:endParaRPr lang="en-US" dirty="0"/>
          </a:p>
        </p:txBody>
      </p:sp>
      <p:sp>
        <p:nvSpPr>
          <p:cNvPr id="4" name="Slide Number Placeholder 9"/>
          <p:cNvSpPr>
            <a:spLocks noGrp="1"/>
          </p:cNvSpPr>
          <p:nvPr>
            <p:ph type="sldNum" sz="quarter" idx="10"/>
          </p:nvPr>
        </p:nvSpPr>
        <p:spPr>
          <a:xfrm>
            <a:off x="581801" y="7432745"/>
            <a:ext cx="395947" cy="179350"/>
          </a:xfrm>
        </p:spPr>
        <p:txBody>
          <a:bodyPr/>
          <a:lstStyle>
            <a:lvl1pPr>
              <a:defRPr>
                <a:solidFill>
                  <a:schemeClr val="bg2"/>
                </a:solidFill>
              </a:defRPr>
            </a:lvl1pPr>
          </a:lstStyle>
          <a:p>
            <a:fld id="{36B3A594-D2B0-4FCA-8ED7-D5C8C8E08166}"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560494039"/>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40080" y="7203864"/>
            <a:ext cx="2987040" cy="413808"/>
          </a:xfrm>
          <a:prstGeom prst="rect">
            <a:avLst/>
          </a:prstGeom>
        </p:spPr>
        <p:txBody>
          <a:bodyPr lIns="117564" tIns="58782" rIns="117564" bIns="58782"/>
          <a:lstStyle/>
          <a:p>
            <a:pPr algn="l" defTabSz="1175644" fontAlgn="auto">
              <a:spcBef>
                <a:spcPts val="0"/>
              </a:spcBef>
              <a:spcAft>
                <a:spcPts val="0"/>
              </a:spcAft>
            </a:pPr>
            <a:endParaRPr lang="en-US" sz="2300" b="0" dirty="0">
              <a:solidFill>
                <a:prstClr val="black"/>
              </a:solidFill>
              <a:latin typeface="Arial"/>
              <a:cs typeface="+mn-cs"/>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4279914410"/>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20835" name="Title Placeholder 1"/>
          <p:cNvSpPr>
            <a:spLocks noGrp="1"/>
          </p:cNvSpPr>
          <p:nvPr>
            <p:ph type="ctrTitle"/>
          </p:nvPr>
        </p:nvSpPr>
        <p:spPr>
          <a:xfrm>
            <a:off x="1599968" y="3271170"/>
            <a:ext cx="5595776" cy="1900652"/>
          </a:xfrm>
        </p:spPr>
        <p:txBody>
          <a:bodyPr/>
          <a:lstStyle>
            <a:lvl1pPr>
              <a:lnSpc>
                <a:spcPts val="2843"/>
              </a:lnSpc>
              <a:defRPr sz="2833"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a:xfrm>
            <a:off x="569678" y="6832809"/>
            <a:ext cx="6636146" cy="344417"/>
          </a:xfrm>
        </p:spPr>
        <p:txBody>
          <a:bodyPr/>
          <a:lstStyle>
            <a:lvl1pPr marL="0" indent="0">
              <a:lnSpc>
                <a:spcPts val="2260"/>
              </a:lnSpc>
              <a:defRPr sz="1813" b="1" smtClean="0">
                <a:latin typeface="+mn-lt"/>
                <a:cs typeface="Andalus" pitchFamily="2" charset="-78"/>
              </a:defRPr>
            </a:lvl1pPr>
          </a:lstStyle>
          <a:p>
            <a:r>
              <a:rPr lang="en-US" noProof="0" smtClean="0"/>
              <a:t>Click to edit Master subtitle style</a:t>
            </a:r>
            <a:endParaRPr lang="en-US" noProof="0" dirty="0" smtClean="0"/>
          </a:p>
        </p:txBody>
      </p:sp>
    </p:spTree>
    <p:extLst>
      <p:ext uri="{BB962C8B-B14F-4D97-AF65-F5344CB8AC3E}">
        <p14:creationId xmlns:p14="http://schemas.microsoft.com/office/powerpoint/2010/main" val="1038419300"/>
      </p:ext>
    </p:extLst>
  </p:cSld>
  <p:clrMapOvr>
    <a:masterClrMapping/>
  </p:clrMapOvr>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50130353"/>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Picture Divider">
    <p:spTree>
      <p:nvGrpSpPr>
        <p:cNvPr id="1" name=""/>
        <p:cNvGrpSpPr/>
        <p:nvPr/>
      </p:nvGrpSpPr>
      <p:grpSpPr>
        <a:xfrm>
          <a:off x="0" y="0"/>
          <a:ext cx="0" cy="0"/>
          <a:chOff x="0" y="0"/>
          <a:chExt cx="0" cy="0"/>
        </a:xfrm>
      </p:grpSpPr>
      <p:sp>
        <p:nvSpPr>
          <p:cNvPr id="2" name="Title 1"/>
          <p:cNvSpPr>
            <a:spLocks noGrp="1"/>
          </p:cNvSpPr>
          <p:nvPr>
            <p:ph type="title"/>
          </p:nvPr>
        </p:nvSpPr>
        <p:spPr>
          <a:xfrm>
            <a:off x="571700" y="3243389"/>
            <a:ext cx="5744693" cy="489500"/>
          </a:xfrm>
        </p:spPr>
        <p:txBody>
          <a:bodyPr/>
          <a:lstStyle>
            <a:lvl1pPr>
              <a:defRPr sz="2833"/>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34E12065-4B93-48D6-8A5B-D752033C0FE7}" type="slidenum">
              <a:rPr lang="en-US">
                <a:solidFill>
                  <a:srgbClr val="002776"/>
                </a:solidFill>
              </a:rPr>
              <a:pPr/>
              <a:t>‹#›</a:t>
            </a:fld>
            <a:endParaRPr lang="en-US" dirty="0">
              <a:solidFill>
                <a:srgbClr val="002776"/>
              </a:solidFill>
            </a:endParaRPr>
          </a:p>
        </p:txBody>
      </p:sp>
      <p:sp>
        <p:nvSpPr>
          <p:cNvPr id="5" name="Footer Placeholder 10"/>
          <p:cNvSpPr>
            <a:spLocks noGrp="1"/>
          </p:cNvSpPr>
          <p:nvPr>
            <p:ph type="ftr" sz="quarter" idx="3"/>
          </p:nvPr>
        </p:nvSpPr>
        <p:spPr>
          <a:xfrm>
            <a:off x="1080774" y="7426975"/>
            <a:ext cx="6044245" cy="163480"/>
          </a:xfrm>
          <a:prstGeom prst="rect">
            <a:avLst/>
          </a:prstGeom>
        </p:spPr>
        <p:txBody>
          <a:bodyPr vert="horz" wrap="square" lIns="0" tIns="0" rIns="0" bIns="0" numCol="1" anchor="t" anchorCtr="0" compatLnSpc="1">
            <a:prstTxWarp prst="textNoShape">
              <a:avLst/>
            </a:prstTxWarp>
            <a:noAutofit/>
          </a:bodyPr>
          <a:lstStyle>
            <a:lvl1pPr>
              <a:lnSpc>
                <a:spcPts val="1221"/>
              </a:lnSpc>
              <a:defRPr sz="1020">
                <a:solidFill>
                  <a:schemeClr val="tx2"/>
                </a:solidFill>
              </a:defRPr>
            </a:lvl1pPr>
          </a:lstStyle>
          <a:p>
            <a:pPr algn="l" defTabSz="1034131" fontAlgn="auto">
              <a:spcBef>
                <a:spcPts val="0"/>
              </a:spcBef>
              <a:spcAft>
                <a:spcPts val="0"/>
              </a:spcAft>
            </a:pPr>
            <a:endParaRPr lang="en-GB" b="0" dirty="0">
              <a:solidFill>
                <a:srgbClr val="002776"/>
              </a:solidFill>
              <a:latin typeface="Arial"/>
            </a:endParaRPr>
          </a:p>
        </p:txBody>
      </p:sp>
    </p:spTree>
    <p:extLst>
      <p:ext uri="{BB962C8B-B14F-4D97-AF65-F5344CB8AC3E}">
        <p14:creationId xmlns:p14="http://schemas.microsoft.com/office/powerpoint/2010/main" val="1472877533"/>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title" preserve="1">
  <p:cSld name="Section Divider ">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599950" y="3026744"/>
            <a:ext cx="8557294" cy="1279264"/>
          </a:xfrm>
        </p:spPr>
        <p:txBody>
          <a:bodyPr/>
          <a:lstStyle>
            <a:lvl1pPr>
              <a:lnSpc>
                <a:spcPts val="5287"/>
              </a:lnSpc>
              <a:defRPr sz="5327" b="0">
                <a:solidFill>
                  <a:schemeClr val="bg2"/>
                </a:solidFill>
                <a:latin typeface="Times New Roman" pitchFamily="18"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96919260"/>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67667" y="1349100"/>
            <a:ext cx="5797789" cy="5915404"/>
          </a:xfrm>
        </p:spPr>
        <p:txBody>
          <a:bodyPr/>
          <a:lstStyle>
            <a:lvl1pPr>
              <a:defRPr sz="2040"/>
            </a:lvl1pPr>
            <a:lvl2pPr>
              <a:defRPr sz="2040"/>
            </a:lvl2pPr>
            <a:lvl3pPr>
              <a:defRPr sz="2040"/>
            </a:lvl3pPr>
            <a:lvl4pPr>
              <a:defRPr sz="1813"/>
            </a:lvl4pPr>
            <a:lvl5pPr>
              <a:defRPr sz="1813"/>
            </a:lvl5pPr>
            <a:lvl6pPr>
              <a:defRPr sz="1813"/>
            </a:lvl6pPr>
            <a:lvl7pPr>
              <a:defRPr sz="1813"/>
            </a:lvl7pPr>
            <a:lvl8pPr>
              <a:defRPr sz="1813"/>
            </a:lvl8pPr>
            <a:lvl9pPr>
              <a:defRPr sz="181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559401" y="1349100"/>
            <a:ext cx="5799809" cy="5915404"/>
          </a:xfrm>
        </p:spPr>
        <p:txBody>
          <a:bodyPr/>
          <a:lstStyle>
            <a:lvl1pPr>
              <a:defRPr sz="2040"/>
            </a:lvl1pPr>
            <a:lvl2pPr>
              <a:defRPr sz="2040"/>
            </a:lvl2pPr>
            <a:lvl3pPr>
              <a:defRPr sz="2040"/>
            </a:lvl3pPr>
            <a:lvl4pPr>
              <a:defRPr sz="1813"/>
            </a:lvl4pPr>
            <a:lvl5pPr>
              <a:defRPr sz="1813"/>
            </a:lvl5pPr>
            <a:lvl6pPr>
              <a:defRPr sz="1813"/>
            </a:lvl6pPr>
            <a:lvl7pPr>
              <a:defRPr sz="1813"/>
            </a:lvl7pPr>
            <a:lvl8pPr>
              <a:defRPr sz="1813"/>
            </a:lvl8pPr>
            <a:lvl9pPr>
              <a:defRPr sz="181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p:cNvSpPr>
          <p:nvPr>
            <p:ph type="sldNum" sz="quarter" idx="10"/>
          </p:nvPr>
        </p:nvSpPr>
        <p:spPr/>
        <p:txBody>
          <a:bodyPr/>
          <a:lstStyle>
            <a:lvl1pPr>
              <a:defRPr/>
            </a:lvl1pPr>
          </a:lstStyle>
          <a:p>
            <a:fld id="{D8FFA96A-D5A7-4DE1-BC0A-C3244EE05AA5}" type="slidenum">
              <a:rPr lang="en-US">
                <a:solidFill>
                  <a:srgbClr val="002776"/>
                </a:solidFill>
              </a:rPr>
              <a:pPr/>
              <a:t>‹#›</a:t>
            </a:fld>
            <a:endParaRPr lang="en-US" dirty="0">
              <a:solidFill>
                <a:srgbClr val="002776"/>
              </a:solidFill>
            </a:endParaRPr>
          </a:p>
        </p:txBody>
      </p:sp>
      <p:sp>
        <p:nvSpPr>
          <p:cNvPr id="7" name="Footer Placeholder 10"/>
          <p:cNvSpPr>
            <a:spLocks noGrp="1"/>
          </p:cNvSpPr>
          <p:nvPr>
            <p:ph type="ftr" sz="quarter" idx="3"/>
          </p:nvPr>
        </p:nvSpPr>
        <p:spPr>
          <a:xfrm>
            <a:off x="1080774" y="7427998"/>
            <a:ext cx="6044245" cy="163480"/>
          </a:xfrm>
          <a:prstGeom prst="rect">
            <a:avLst/>
          </a:prstGeom>
        </p:spPr>
        <p:txBody>
          <a:bodyPr vert="horz" wrap="square" lIns="0" tIns="0" rIns="0" bIns="0" numCol="1" anchor="t" anchorCtr="0" compatLnSpc="1">
            <a:prstTxWarp prst="textNoShape">
              <a:avLst/>
            </a:prstTxWarp>
            <a:noAutofit/>
          </a:bodyPr>
          <a:lstStyle>
            <a:lvl1pPr>
              <a:lnSpc>
                <a:spcPts val="1221"/>
              </a:lnSpc>
              <a:defRPr sz="1020">
                <a:solidFill>
                  <a:schemeClr val="tx2"/>
                </a:solidFill>
              </a:defRPr>
            </a:lvl1pPr>
          </a:lstStyle>
          <a:p>
            <a:pPr algn="l" defTabSz="1034131" fontAlgn="auto">
              <a:spcBef>
                <a:spcPts val="0"/>
              </a:spcBef>
              <a:spcAft>
                <a:spcPts val="0"/>
              </a:spcAft>
            </a:pPr>
            <a:endParaRPr lang="en-GB" b="0" dirty="0">
              <a:solidFill>
                <a:srgbClr val="002776"/>
              </a:solidFill>
              <a:latin typeface="Arial"/>
            </a:endParaRPr>
          </a:p>
        </p:txBody>
      </p:sp>
    </p:spTree>
    <p:extLst>
      <p:ext uri="{BB962C8B-B14F-4D97-AF65-F5344CB8AC3E}">
        <p14:creationId xmlns:p14="http://schemas.microsoft.com/office/powerpoint/2010/main" val="448232585"/>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AEB0F4D5-BD91-4FCA-AE42-3932305F8AA9}" type="slidenum">
              <a:rPr lang="en-US">
                <a:solidFill>
                  <a:srgbClr val="002776"/>
                </a:solidFill>
              </a:rPr>
              <a:pPr/>
              <a:t>‹#›</a:t>
            </a:fld>
            <a:endParaRPr lang="en-US" dirty="0">
              <a:solidFill>
                <a:srgbClr val="002776"/>
              </a:solidFill>
            </a:endParaRPr>
          </a:p>
        </p:txBody>
      </p:sp>
      <p:sp>
        <p:nvSpPr>
          <p:cNvPr id="5" name="Footer Placeholder 10"/>
          <p:cNvSpPr>
            <a:spLocks noGrp="1"/>
          </p:cNvSpPr>
          <p:nvPr>
            <p:ph type="ftr" sz="quarter" idx="3"/>
          </p:nvPr>
        </p:nvSpPr>
        <p:spPr>
          <a:xfrm>
            <a:off x="1080774" y="7427998"/>
            <a:ext cx="6044245" cy="163480"/>
          </a:xfrm>
          <a:prstGeom prst="rect">
            <a:avLst/>
          </a:prstGeom>
        </p:spPr>
        <p:txBody>
          <a:bodyPr vert="horz" wrap="square" lIns="0" tIns="0" rIns="0" bIns="0" numCol="1" anchor="t" anchorCtr="0" compatLnSpc="1">
            <a:prstTxWarp prst="textNoShape">
              <a:avLst/>
            </a:prstTxWarp>
            <a:noAutofit/>
          </a:bodyPr>
          <a:lstStyle>
            <a:lvl1pPr>
              <a:lnSpc>
                <a:spcPts val="1221"/>
              </a:lnSpc>
              <a:defRPr sz="1020">
                <a:solidFill>
                  <a:schemeClr val="tx2"/>
                </a:solidFill>
              </a:defRPr>
            </a:lvl1pPr>
          </a:lstStyle>
          <a:p>
            <a:pPr algn="l" defTabSz="1034131" fontAlgn="auto">
              <a:spcBef>
                <a:spcPts val="0"/>
              </a:spcBef>
              <a:spcAft>
                <a:spcPts val="0"/>
              </a:spcAft>
            </a:pPr>
            <a:endParaRPr lang="en-GB" b="0" dirty="0">
              <a:solidFill>
                <a:srgbClr val="002776"/>
              </a:solidFill>
              <a:latin typeface="Arial"/>
            </a:endParaRPr>
          </a:p>
        </p:txBody>
      </p:sp>
    </p:spTree>
    <p:extLst>
      <p:ext uri="{BB962C8B-B14F-4D97-AF65-F5344CB8AC3E}">
        <p14:creationId xmlns:p14="http://schemas.microsoft.com/office/powerpoint/2010/main" val="204113263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Divider">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576072" y="3501303"/>
            <a:ext cx="6055157" cy="470898"/>
          </a:xfrm>
          <a:prstGeom prst="rect">
            <a:avLst/>
          </a:prstGeom>
        </p:spPr>
        <p:txBody>
          <a:bodyPr>
            <a:spAutoFit/>
          </a:bodyPr>
          <a:lstStyle>
            <a:lvl1pPr>
              <a:lnSpc>
                <a:spcPct val="85000"/>
              </a:lnSpc>
              <a:defRPr sz="3600" b="1" smtClean="0">
                <a:latin typeface="Calibri" pitchFamily="34" charset="0"/>
              </a:defRPr>
            </a:lvl1pPr>
          </a:lstStyle>
          <a:p>
            <a:r>
              <a:rPr lang="en-US" dirty="0" smtClean="0"/>
              <a:t>Click to edit Master title style</a:t>
            </a:r>
          </a:p>
        </p:txBody>
      </p:sp>
      <p:sp>
        <p:nvSpPr>
          <p:cNvPr id="120836" name="Text Placeholder 2"/>
          <p:cNvSpPr>
            <a:spLocks noGrp="1"/>
          </p:cNvSpPr>
          <p:nvPr>
            <p:ph type="subTitle" idx="1"/>
          </p:nvPr>
        </p:nvSpPr>
        <p:spPr bwMode="gray">
          <a:xfrm>
            <a:off x="576072" y="4186733"/>
            <a:ext cx="6055157" cy="400110"/>
          </a:xfrm>
          <a:prstGeom prst="rect">
            <a:avLst/>
          </a:prstGeom>
        </p:spPr>
        <p:txBody>
          <a:bodyPr>
            <a:spAutoFit/>
          </a:bodyPr>
          <a:lstStyle>
            <a:lvl1pPr>
              <a:lnSpc>
                <a:spcPct val="100000"/>
              </a:lnSpc>
              <a:defRPr sz="2600" b="0" smtClean="0">
                <a:latin typeface="Calibri" pitchFamily="34" charset="0"/>
              </a:defRPr>
            </a:lvl1pPr>
          </a:lstStyle>
          <a:p>
            <a:r>
              <a:rPr lang="en-US" dirty="0" smtClean="0"/>
              <a:t>Click to edit Master subtitle style</a:t>
            </a:r>
            <a:endParaRPr dirty="0" smtClean="0"/>
          </a:p>
        </p:txBody>
      </p:sp>
    </p:spTree>
    <p:extLst>
      <p:ext uri="{BB962C8B-B14F-4D97-AF65-F5344CB8AC3E}">
        <p14:creationId xmlns:p14="http://schemas.microsoft.com/office/powerpoint/2010/main" val="673567764"/>
      </p:ext>
    </p:extLst>
  </p:cSld>
  <p:clrMapOvr>
    <a:masterClrMapping/>
  </p:clrMapOvr>
  <p:transition/>
  <p:timing>
    <p:tnLst>
      <p:par>
        <p:cTn id="1" dur="indefinite" restart="never" nodeType="tmRoot"/>
      </p:par>
    </p:tnLst>
  </p:timing>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3947"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632627955"/>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E329EB4B-1393-4D9C-8DD8-C52DFD9C0516}" type="slidenum">
              <a:rPr lang="en-US">
                <a:solidFill>
                  <a:srgbClr val="002776"/>
                </a:solidFill>
              </a:rPr>
              <a:pPr/>
              <a:t>‹#›</a:t>
            </a:fld>
            <a:endParaRPr lang="en-US" dirty="0">
              <a:solidFill>
                <a:srgbClr val="002776"/>
              </a:solidFill>
            </a:endParaRPr>
          </a:p>
        </p:txBody>
      </p:sp>
      <p:sp>
        <p:nvSpPr>
          <p:cNvPr id="4" name="Footer Placeholder 10"/>
          <p:cNvSpPr>
            <a:spLocks noGrp="1"/>
          </p:cNvSpPr>
          <p:nvPr>
            <p:ph type="ftr" sz="quarter" idx="3"/>
          </p:nvPr>
        </p:nvSpPr>
        <p:spPr>
          <a:xfrm>
            <a:off x="1080774" y="7427998"/>
            <a:ext cx="6044245" cy="163480"/>
          </a:xfrm>
          <a:prstGeom prst="rect">
            <a:avLst/>
          </a:prstGeom>
        </p:spPr>
        <p:txBody>
          <a:bodyPr vert="horz" wrap="square" lIns="0" tIns="0" rIns="0" bIns="0" numCol="1" anchor="t" anchorCtr="0" compatLnSpc="1">
            <a:prstTxWarp prst="textNoShape">
              <a:avLst/>
            </a:prstTxWarp>
            <a:noAutofit/>
          </a:bodyPr>
          <a:lstStyle>
            <a:lvl1pPr>
              <a:lnSpc>
                <a:spcPts val="1221"/>
              </a:lnSpc>
              <a:defRPr sz="1020">
                <a:solidFill>
                  <a:schemeClr val="tx2"/>
                </a:solidFill>
              </a:defRPr>
            </a:lvl1pPr>
          </a:lstStyle>
          <a:p>
            <a:pPr algn="l" defTabSz="1034131" fontAlgn="auto">
              <a:spcBef>
                <a:spcPts val="0"/>
              </a:spcBef>
              <a:spcAft>
                <a:spcPts val="0"/>
              </a:spcAft>
            </a:pPr>
            <a:endParaRPr lang="en-GB" b="0" dirty="0">
              <a:solidFill>
                <a:srgbClr val="002776"/>
              </a:solidFill>
              <a:latin typeface="Arial"/>
            </a:endParaRPr>
          </a:p>
        </p:txBody>
      </p:sp>
    </p:spTree>
    <p:extLst>
      <p:ext uri="{BB962C8B-B14F-4D97-AF65-F5344CB8AC3E}">
        <p14:creationId xmlns:p14="http://schemas.microsoft.com/office/powerpoint/2010/main" val="3471295767"/>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Table Placeholder 5"/>
          <p:cNvSpPr>
            <a:spLocks noGrp="1"/>
          </p:cNvSpPr>
          <p:nvPr>
            <p:ph type="tbl" sz="quarter" idx="12"/>
          </p:nvPr>
        </p:nvSpPr>
        <p:spPr>
          <a:xfrm>
            <a:off x="568056" y="1476075"/>
            <a:ext cx="11791738" cy="5659120"/>
          </a:xfrm>
          <a:noFill/>
          <a:ln>
            <a:solidFill>
              <a:schemeClr val="tx2"/>
            </a:solidFill>
          </a:ln>
        </p:spPr>
        <p:txBody>
          <a:bodyPr/>
          <a:lstStyle/>
          <a:p>
            <a:pPr lvl="0"/>
            <a:r>
              <a:rPr lang="en-US" noProof="0" dirty="0" smtClean="0"/>
              <a:t>Click icon to add table</a:t>
            </a:r>
            <a:endParaRPr lang="en-US" noProof="0" dirty="0"/>
          </a:p>
        </p:txBody>
      </p:sp>
      <p:sp>
        <p:nvSpPr>
          <p:cNvPr id="4" name="Slide Number Placeholder 2"/>
          <p:cNvSpPr>
            <a:spLocks noGrp="1"/>
          </p:cNvSpPr>
          <p:nvPr>
            <p:ph type="sldNum" sz="quarter" idx="13"/>
          </p:nvPr>
        </p:nvSpPr>
        <p:spPr/>
        <p:txBody>
          <a:bodyPr/>
          <a:lstStyle>
            <a:lvl1pPr>
              <a:defRPr/>
            </a:lvl1pPr>
          </a:lstStyle>
          <a:p>
            <a:fld id="{751D9631-F9E9-4DC6-B7E6-693A66A7964B}" type="slidenum">
              <a:rPr lang="en-GB">
                <a:solidFill>
                  <a:srgbClr val="002776"/>
                </a:solidFill>
              </a:rPr>
              <a:pPr/>
              <a:t>‹#›</a:t>
            </a:fld>
            <a:endParaRPr lang="en-GB" dirty="0">
              <a:solidFill>
                <a:srgbClr val="002776"/>
              </a:solidFill>
            </a:endParaRPr>
          </a:p>
        </p:txBody>
      </p:sp>
      <p:sp>
        <p:nvSpPr>
          <p:cNvPr id="5" name="Footer Placeholder 3"/>
          <p:cNvSpPr>
            <a:spLocks noGrp="1"/>
          </p:cNvSpPr>
          <p:nvPr>
            <p:ph type="ftr" sz="quarter" idx="14"/>
          </p:nvPr>
        </p:nvSpPr>
        <p:spPr>
          <a:xfrm>
            <a:off x="1080774" y="7427998"/>
            <a:ext cx="6044245" cy="163480"/>
          </a:xfrm>
          <a:prstGeom prst="rect">
            <a:avLst/>
          </a:prstGeom>
        </p:spPr>
        <p:txBody>
          <a:bodyPr lIns="91250" tIns="45624" rIns="91250" bIns="45624"/>
          <a:lstStyle>
            <a:lvl1pPr>
              <a:defRPr/>
            </a:lvl1pPr>
          </a:lstStyle>
          <a:p>
            <a:pPr algn="l" defTabSz="1034131" fontAlgn="auto">
              <a:spcBef>
                <a:spcPts val="0"/>
              </a:spcBef>
              <a:spcAft>
                <a:spcPts val="0"/>
              </a:spcAft>
            </a:pPr>
            <a:endParaRPr lang="en-GB" sz="2040" b="0" dirty="0">
              <a:solidFill>
                <a:srgbClr val="000000"/>
              </a:solidFill>
              <a:latin typeface="Arial"/>
            </a:endParaRPr>
          </a:p>
        </p:txBody>
      </p:sp>
    </p:spTree>
    <p:extLst>
      <p:ext uri="{BB962C8B-B14F-4D97-AF65-F5344CB8AC3E}">
        <p14:creationId xmlns:p14="http://schemas.microsoft.com/office/powerpoint/2010/main" val="369782033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C731D5CD-A07D-4B8A-9609-3D6D60AC6B28}" type="slidenum">
              <a:rPr lang="en-US">
                <a:solidFill>
                  <a:srgbClr val="002776"/>
                </a:solidFill>
              </a:rPr>
              <a:pPr/>
              <a:t>‹#›</a:t>
            </a:fld>
            <a:endParaRPr lang="en-US" dirty="0">
              <a:solidFill>
                <a:srgbClr val="002776"/>
              </a:solidFill>
            </a:endParaRPr>
          </a:p>
        </p:txBody>
      </p:sp>
      <p:sp>
        <p:nvSpPr>
          <p:cNvPr id="5" name="Footer Placeholder 4"/>
          <p:cNvSpPr>
            <a:spLocks noGrp="1"/>
          </p:cNvSpPr>
          <p:nvPr>
            <p:ph type="ftr" sz="quarter" idx="11"/>
          </p:nvPr>
        </p:nvSpPr>
        <p:spPr>
          <a:xfrm>
            <a:off x="1080774" y="7427998"/>
            <a:ext cx="6044245" cy="163480"/>
          </a:xfrm>
          <a:prstGeom prst="rect">
            <a:avLst/>
          </a:prstGeom>
        </p:spPr>
        <p:txBody>
          <a:bodyPr lIns="91250" tIns="45624" rIns="91250" bIns="45624"/>
          <a:lstStyle>
            <a:lvl1pPr>
              <a:defRPr/>
            </a:lvl1pPr>
          </a:lstStyle>
          <a:p>
            <a:pPr algn="l" defTabSz="1034131" fontAlgn="auto">
              <a:spcBef>
                <a:spcPts val="0"/>
              </a:spcBef>
              <a:spcAft>
                <a:spcPts val="0"/>
              </a:spcAft>
            </a:pPr>
            <a:endParaRPr lang="en-US" sz="2040" b="0" dirty="0">
              <a:solidFill>
                <a:srgbClr val="000000"/>
              </a:solidFill>
              <a:latin typeface="Arial"/>
            </a:endParaRPr>
          </a:p>
        </p:txBody>
      </p:sp>
    </p:spTree>
    <p:extLst>
      <p:ext uri="{BB962C8B-B14F-4D97-AF65-F5344CB8AC3E}">
        <p14:creationId xmlns:p14="http://schemas.microsoft.com/office/powerpoint/2010/main" val="589449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69493" y="396796"/>
            <a:ext cx="907057" cy="6867710"/>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567658" y="396796"/>
            <a:ext cx="10293662" cy="68677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5CA88710-878A-4A9B-8A0D-63B45F4EDAA4}" type="slidenum">
              <a:rPr lang="en-US">
                <a:solidFill>
                  <a:srgbClr val="002776"/>
                </a:solidFill>
              </a:rPr>
              <a:pPr/>
              <a:t>‹#›</a:t>
            </a:fld>
            <a:endParaRPr lang="en-US" dirty="0">
              <a:solidFill>
                <a:srgbClr val="002776"/>
              </a:solidFill>
            </a:endParaRPr>
          </a:p>
        </p:txBody>
      </p:sp>
      <p:sp>
        <p:nvSpPr>
          <p:cNvPr id="5" name="Footer Placeholder 4"/>
          <p:cNvSpPr>
            <a:spLocks noGrp="1"/>
          </p:cNvSpPr>
          <p:nvPr>
            <p:ph type="ftr" sz="quarter" idx="11"/>
          </p:nvPr>
        </p:nvSpPr>
        <p:spPr>
          <a:xfrm>
            <a:off x="1080774" y="7427998"/>
            <a:ext cx="6044245" cy="163480"/>
          </a:xfrm>
          <a:prstGeom prst="rect">
            <a:avLst/>
          </a:prstGeom>
        </p:spPr>
        <p:txBody>
          <a:bodyPr lIns="91250" tIns="45624" rIns="91250" bIns="45624"/>
          <a:lstStyle>
            <a:lvl1pPr>
              <a:defRPr/>
            </a:lvl1pPr>
          </a:lstStyle>
          <a:p>
            <a:pPr algn="l" defTabSz="1034131" fontAlgn="auto">
              <a:spcBef>
                <a:spcPts val="0"/>
              </a:spcBef>
              <a:spcAft>
                <a:spcPts val="0"/>
              </a:spcAft>
            </a:pPr>
            <a:endParaRPr lang="en-US" sz="2040" b="0" dirty="0">
              <a:solidFill>
                <a:srgbClr val="000000"/>
              </a:solidFill>
              <a:latin typeface="Arial"/>
            </a:endParaRPr>
          </a:p>
        </p:txBody>
      </p:sp>
    </p:spTree>
    <p:extLst>
      <p:ext uri="{BB962C8B-B14F-4D97-AF65-F5344CB8AC3E}">
        <p14:creationId xmlns:p14="http://schemas.microsoft.com/office/powerpoint/2010/main" val="228221458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576090" y="1585567"/>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034131" rtl="0" eaLnBrk="1" fontAlgn="base" latinLnBrk="0" hangingPunct="1">
              <a:lnSpc>
                <a:spcPct val="100000"/>
              </a:lnSpc>
              <a:spcAft>
                <a:spcPct val="0"/>
              </a:spcAft>
              <a:buFont typeface="Arial" pitchFamily="34" charset="0"/>
              <a:tabLst/>
              <a:defRPr kumimoji="0" lang="en-US" sz="2040" b="0" i="0" u="none" strike="noStrike" kern="1200" cap="none" normalizeH="0" baseline="0" dirty="0" smtClean="0">
                <a:ln>
                  <a:noFill/>
                </a:ln>
                <a:solidFill>
                  <a:schemeClr val="tx2"/>
                </a:solidFill>
                <a:effectLst/>
                <a:latin typeface="+mn-lt"/>
                <a:ea typeface="+mn-ea"/>
                <a:cs typeface="Arial" pitchFamily="34" charset="0"/>
              </a:defRPr>
            </a:lvl1pPr>
            <a:lvl2pPr marR="0" algn="l" defTabSz="1034131" rtl="0" eaLnBrk="1" fontAlgn="base" latinLnBrk="0" hangingPunct="1">
              <a:lnSpc>
                <a:spcPct val="100000"/>
              </a:lnSpc>
              <a:spcAft>
                <a:spcPct val="0"/>
              </a:spcAft>
              <a:buFont typeface="Arial" pitchFamily="34" charset="0"/>
              <a:tabLst/>
              <a:defRPr kumimoji="0" lang="en-US" sz="2040" b="0" i="0" u="none" strike="noStrike" kern="1200" cap="none" normalizeH="0" baseline="0" dirty="0" smtClean="0">
                <a:ln>
                  <a:noFill/>
                </a:ln>
                <a:solidFill>
                  <a:schemeClr val="tx2"/>
                </a:solidFill>
                <a:effectLst/>
                <a:latin typeface="+mn-lt"/>
                <a:ea typeface="+mn-ea"/>
                <a:cs typeface="Arial" pitchFamily="34" charset="0"/>
              </a:defRPr>
            </a:lvl2pPr>
            <a:lvl3pPr marR="0" algn="l" defTabSz="1034131" rtl="0" eaLnBrk="1" fontAlgn="base" latinLnBrk="0" hangingPunct="1">
              <a:lnSpc>
                <a:spcPct val="100000"/>
              </a:lnSpc>
              <a:spcAft>
                <a:spcPct val="0"/>
              </a:spcAft>
              <a:buFont typeface="Arial" pitchFamily="34" charset="0"/>
              <a:tabLst/>
              <a:defRPr kumimoji="0" lang="en-US" sz="1813" b="0" i="0" u="none" strike="noStrike" kern="1200" cap="none" normalizeH="0" baseline="0" dirty="0" smtClean="0">
                <a:ln>
                  <a:noFill/>
                </a:ln>
                <a:solidFill>
                  <a:schemeClr val="tx2"/>
                </a:solidFill>
                <a:effectLst/>
                <a:latin typeface="+mn-lt"/>
                <a:ea typeface="+mn-ea"/>
                <a:cs typeface="Arial" pitchFamily="34" charset="0"/>
              </a:defRPr>
            </a:lvl3pPr>
            <a:lvl4pPr marR="0" algn="l" defTabSz="1034131" rtl="0" eaLnBrk="1" fontAlgn="base" latinLnBrk="0" hangingPunct="1">
              <a:lnSpc>
                <a:spcPct val="100000"/>
              </a:lnSpc>
              <a:spcAft>
                <a:spcPct val="0"/>
              </a:spcAft>
              <a:buFont typeface="Arial" pitchFamily="34" charset="0"/>
              <a:tabLst/>
              <a:defRPr kumimoji="0" lang="en-US" sz="1813" b="0" i="0" u="none" strike="noStrike" kern="1200" cap="none" normalizeH="0" baseline="0" dirty="0" smtClean="0">
                <a:ln>
                  <a:noFill/>
                </a:ln>
                <a:solidFill>
                  <a:schemeClr val="tx2"/>
                </a:solidFill>
                <a:effectLst/>
                <a:latin typeface="+mn-lt"/>
                <a:ea typeface="+mn-ea"/>
                <a:cs typeface="Arial" pitchFamily="34" charset="0"/>
              </a:defRPr>
            </a:lvl4pPr>
            <a:lvl5pPr marR="0" algn="l" defTabSz="1034131" rtl="0" eaLnBrk="1" fontAlgn="base" latinLnBrk="0" hangingPunct="1">
              <a:lnSpc>
                <a:spcPct val="100000"/>
              </a:lnSpc>
              <a:spcAft>
                <a:spcPct val="0"/>
              </a:spcAft>
              <a:buFont typeface="Arial" pitchFamily="34" charset="0"/>
              <a:tabLst/>
              <a:defRPr kumimoji="0" lang="en-US" sz="1813" b="0" i="0" u="none" strike="noStrike" kern="1200" cap="none" normalizeH="0" baseline="0" dirty="0">
                <a:ln>
                  <a:noFill/>
                </a:ln>
                <a:solidFill>
                  <a:schemeClr val="tx2"/>
                </a:solidFill>
                <a:effectLst/>
                <a:latin typeface="+mn-lt"/>
                <a:ea typeface="+mn-ea"/>
                <a:cs typeface="Arial" pitchFamily="34" charset="0"/>
              </a:defRPr>
            </a:lvl5pPr>
            <a:lvl6pPr>
              <a:tabLst>
                <a:tab pos="4398651"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8"/>
          <p:cNvSpPr>
            <a:spLocks noGrp="1"/>
          </p:cNvSpPr>
          <p:nvPr>
            <p:ph type="body" sz="quarter" idx="13"/>
          </p:nvPr>
        </p:nvSpPr>
        <p:spPr bwMode="gray">
          <a:xfrm>
            <a:off x="580076" y="883406"/>
            <a:ext cx="11662258" cy="348878"/>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267"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1034131"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6" name="Title Placeholder 10"/>
          <p:cNvSpPr>
            <a:spLocks noGrp="1"/>
          </p:cNvSpPr>
          <p:nvPr>
            <p:ph type="title"/>
          </p:nvPr>
        </p:nvSpPr>
        <p:spPr bwMode="gray">
          <a:xfrm>
            <a:off x="580076" y="538118"/>
            <a:ext cx="11662258" cy="345287"/>
          </a:xfrm>
          <a:prstGeom prst="rect">
            <a:avLst/>
          </a:prstGeom>
        </p:spPr>
        <p:txBody>
          <a:bodyPr lIns="0" tIns="0" rIns="0" bIns="0" anchor="b" anchorCtr="0">
            <a:spAutoFit/>
          </a:bodyPr>
          <a:lstStyle/>
          <a:p>
            <a:pPr marL="0" marR="0" lvl="0" indent="0" algn="l" defTabSz="1034131"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7" name="Content Placeholder 20"/>
          <p:cNvSpPr>
            <a:spLocks noGrp="1"/>
          </p:cNvSpPr>
          <p:nvPr>
            <p:ph sz="quarter" idx="14"/>
          </p:nvPr>
        </p:nvSpPr>
        <p:spPr bwMode="gray">
          <a:xfrm>
            <a:off x="6614179" y="1585567"/>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034131" rtl="0" eaLnBrk="1" fontAlgn="base" latinLnBrk="0" hangingPunct="1">
              <a:lnSpc>
                <a:spcPct val="100000"/>
              </a:lnSpc>
              <a:spcAft>
                <a:spcPct val="0"/>
              </a:spcAft>
              <a:buFont typeface="Arial" pitchFamily="34" charset="0"/>
              <a:tabLst/>
              <a:defRPr kumimoji="0" lang="en-US" sz="2040" b="0" i="0" u="none" strike="noStrike" kern="1200" cap="none" normalizeH="0" baseline="0" dirty="0" smtClean="0">
                <a:ln>
                  <a:noFill/>
                </a:ln>
                <a:solidFill>
                  <a:schemeClr val="tx2"/>
                </a:solidFill>
                <a:effectLst/>
                <a:latin typeface="+mn-lt"/>
                <a:ea typeface="+mn-ea"/>
                <a:cs typeface="Arial" pitchFamily="34" charset="0"/>
              </a:defRPr>
            </a:lvl1pPr>
            <a:lvl2pPr marR="0" algn="l" defTabSz="1034131" rtl="0" eaLnBrk="1" fontAlgn="base" latinLnBrk="0" hangingPunct="1">
              <a:lnSpc>
                <a:spcPct val="100000"/>
              </a:lnSpc>
              <a:spcAft>
                <a:spcPct val="0"/>
              </a:spcAft>
              <a:buFont typeface="Arial" pitchFamily="34" charset="0"/>
              <a:tabLst/>
              <a:defRPr kumimoji="0" lang="en-US" sz="2040" b="0" i="0" u="none" strike="noStrike" kern="1200" cap="none" normalizeH="0" baseline="0" dirty="0" smtClean="0">
                <a:ln>
                  <a:noFill/>
                </a:ln>
                <a:solidFill>
                  <a:schemeClr val="tx2"/>
                </a:solidFill>
                <a:effectLst/>
                <a:latin typeface="+mn-lt"/>
                <a:ea typeface="+mn-ea"/>
                <a:cs typeface="Arial" pitchFamily="34" charset="0"/>
              </a:defRPr>
            </a:lvl2pPr>
            <a:lvl3pPr marR="0" algn="l" defTabSz="1034131" rtl="0" eaLnBrk="1" fontAlgn="base" latinLnBrk="0" hangingPunct="1">
              <a:lnSpc>
                <a:spcPct val="100000"/>
              </a:lnSpc>
              <a:spcAft>
                <a:spcPct val="0"/>
              </a:spcAft>
              <a:buFont typeface="Arial" pitchFamily="34" charset="0"/>
              <a:tabLst/>
              <a:defRPr kumimoji="0" lang="en-US" sz="1813" b="0" i="0" u="none" strike="noStrike" kern="1200" cap="none" normalizeH="0" baseline="0" dirty="0" smtClean="0">
                <a:ln>
                  <a:noFill/>
                </a:ln>
                <a:solidFill>
                  <a:schemeClr val="tx2"/>
                </a:solidFill>
                <a:effectLst/>
                <a:latin typeface="+mn-lt"/>
                <a:ea typeface="+mn-ea"/>
                <a:cs typeface="Arial" pitchFamily="34" charset="0"/>
              </a:defRPr>
            </a:lvl3pPr>
            <a:lvl4pPr marR="0" algn="l" defTabSz="1034131" rtl="0" eaLnBrk="1" fontAlgn="base" latinLnBrk="0" hangingPunct="1">
              <a:lnSpc>
                <a:spcPct val="100000"/>
              </a:lnSpc>
              <a:spcAft>
                <a:spcPct val="0"/>
              </a:spcAft>
              <a:buFont typeface="Arial" pitchFamily="34" charset="0"/>
              <a:tabLst/>
              <a:defRPr kumimoji="0" lang="en-US" sz="1813" b="0" i="0" u="none" strike="noStrike" kern="1200" cap="none" normalizeH="0" baseline="0" dirty="0" smtClean="0">
                <a:ln>
                  <a:noFill/>
                </a:ln>
                <a:solidFill>
                  <a:schemeClr val="tx2"/>
                </a:solidFill>
                <a:effectLst/>
                <a:latin typeface="+mn-lt"/>
                <a:ea typeface="+mn-ea"/>
                <a:cs typeface="Arial" pitchFamily="34" charset="0"/>
              </a:defRPr>
            </a:lvl4pPr>
            <a:lvl5pPr marR="0" algn="l" defTabSz="1034131" rtl="0" eaLnBrk="1" fontAlgn="base" latinLnBrk="0" hangingPunct="1">
              <a:lnSpc>
                <a:spcPct val="100000"/>
              </a:lnSpc>
              <a:spcAft>
                <a:spcPct val="0"/>
              </a:spcAft>
              <a:buFont typeface="Arial" pitchFamily="34" charset="0"/>
              <a:tabLst/>
              <a:defRPr kumimoji="0" lang="en-US" sz="1813" b="0" i="0" u="none" strike="noStrike" kern="1200" cap="none" normalizeH="0" baseline="0" dirty="0">
                <a:ln>
                  <a:noFill/>
                </a:ln>
                <a:solidFill>
                  <a:schemeClr val="tx2"/>
                </a:solidFill>
                <a:effectLst/>
                <a:latin typeface="+mn-lt"/>
                <a:ea typeface="+mn-ea"/>
                <a:cs typeface="Arial" pitchFamily="34" charset="0"/>
              </a:defRPr>
            </a:lvl5pPr>
            <a:lvl6pPr>
              <a:tabLst>
                <a:tab pos="4398651"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672343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2" cstate="print"/>
          <a:srcRect l="11237" t="27428" r="9845" b="25551"/>
          <a:stretch>
            <a:fillRect/>
          </a:stretch>
        </p:blipFill>
        <p:spPr bwMode="gray">
          <a:xfrm>
            <a:off x="3982739" y="3436424"/>
            <a:ext cx="4831715" cy="895985"/>
          </a:xfrm>
          <a:prstGeom prst="rect">
            <a:avLst/>
          </a:prstGeom>
          <a:noFill/>
          <a:ln w="9525">
            <a:noFill/>
            <a:miter lim="800000"/>
            <a:headEnd/>
            <a:tailEnd/>
          </a:ln>
        </p:spPr>
      </p:pic>
      <p:sp>
        <p:nvSpPr>
          <p:cNvPr id="3" name="Text Placeholder 5"/>
          <p:cNvSpPr>
            <a:spLocks noGrp="1"/>
          </p:cNvSpPr>
          <p:nvPr>
            <p:ph type="body" sz="quarter" idx="10"/>
          </p:nvPr>
        </p:nvSpPr>
        <p:spPr bwMode="gray">
          <a:xfrm>
            <a:off x="563270" y="6186835"/>
            <a:ext cx="6912864" cy="1305763"/>
          </a:xfrm>
        </p:spPr>
        <p:txBody>
          <a:bodyPr anchor="b" anchorCtr="0">
            <a:noAutofit/>
          </a:bodyPr>
          <a:lstStyle>
            <a:lvl1pPr>
              <a:lnSpc>
                <a:spcPts val="1029"/>
              </a:lnSpc>
              <a:spcBef>
                <a:spcPts val="514"/>
              </a:spcBef>
              <a:spcAft>
                <a:spcPts val="514"/>
              </a:spcAft>
              <a:defRPr sz="900"/>
            </a:lvl1pPr>
          </a:lstStyle>
          <a:p>
            <a:pPr lvl="0"/>
            <a:r>
              <a:rPr lang="en-US" smtClean="0"/>
              <a:t>Click to edit Master text styles</a:t>
            </a:r>
          </a:p>
        </p:txBody>
      </p:sp>
    </p:spTree>
    <p:extLst>
      <p:ext uri="{BB962C8B-B14F-4D97-AF65-F5344CB8AC3E}">
        <p14:creationId xmlns:p14="http://schemas.microsoft.com/office/powerpoint/2010/main" val="2001194775"/>
      </p:ext>
    </p:extLst>
  </p:cSld>
  <p:clrMapOvr>
    <a:masterClrMapping/>
  </p:clrMapOvr>
  <p:transition/>
  <p:timing>
    <p:tnLst>
      <p:par>
        <p:cTn id="1" dur="indefinite" restart="never" nodeType="tmRoot"/>
      </p:par>
    </p:tnLst>
  </p:timing>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CA" noProof="0" dirty="0"/>
          </a:p>
        </p:txBody>
      </p:sp>
      <p:sp>
        <p:nvSpPr>
          <p:cNvPr id="3" name="Content Placeholder 2"/>
          <p:cNvSpPr>
            <a:spLocks noGrp="1"/>
          </p:cNvSpPr>
          <p:nvPr>
            <p:ph sz="half" idx="1"/>
          </p:nvPr>
        </p:nvSpPr>
        <p:spPr>
          <a:xfrm>
            <a:off x="557848" y="1381765"/>
            <a:ext cx="5769610" cy="1777410"/>
          </a:xfrm>
        </p:spPr>
        <p:txBody>
          <a:bodyPr/>
          <a:lstStyle>
            <a:lvl1pPr>
              <a:lnSpc>
                <a:spcPct val="100000"/>
              </a:lnSpc>
              <a:spcAft>
                <a:spcPts val="643"/>
              </a:spcAft>
              <a:defRPr sz="2300"/>
            </a:lvl1pPr>
            <a:lvl2pPr>
              <a:lnSpc>
                <a:spcPct val="100000"/>
              </a:lnSpc>
              <a:spcAft>
                <a:spcPts val="643"/>
              </a:spcAft>
              <a:defRPr sz="2300"/>
            </a:lvl2pPr>
            <a:lvl3pPr>
              <a:lnSpc>
                <a:spcPct val="100000"/>
              </a:lnSpc>
              <a:spcAft>
                <a:spcPts val="643"/>
              </a:spcAft>
              <a:defRPr sz="2100"/>
            </a:lvl3pPr>
            <a:lvl4pPr>
              <a:lnSpc>
                <a:spcPct val="100000"/>
              </a:lnSpc>
              <a:spcAft>
                <a:spcPts val="643"/>
              </a:spcAft>
              <a:defRPr sz="2100"/>
            </a:lvl4pPr>
            <a:lvl5pPr>
              <a:lnSpc>
                <a:spcPct val="100000"/>
              </a:lnSpc>
              <a:spcAft>
                <a:spcPts val="643"/>
              </a:spcAft>
              <a:defRPr sz="1300"/>
            </a:lvl5pPr>
            <a:lvl6pPr>
              <a:defRPr sz="2300"/>
            </a:lvl6pPr>
            <a:lvl7pPr>
              <a:defRPr sz="2300"/>
            </a:lvl7pPr>
            <a:lvl8pPr>
              <a:defRPr sz="2300"/>
            </a:lvl8pPr>
            <a:lvl9pPr>
              <a:defRPr sz="23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p:txBody>
      </p:sp>
      <p:sp>
        <p:nvSpPr>
          <p:cNvPr id="4" name="Content Placeholder 3"/>
          <p:cNvSpPr>
            <a:spLocks noGrp="1"/>
          </p:cNvSpPr>
          <p:nvPr>
            <p:ph sz="half" idx="2"/>
          </p:nvPr>
        </p:nvSpPr>
        <p:spPr>
          <a:xfrm>
            <a:off x="6498591" y="1381765"/>
            <a:ext cx="5769610" cy="1777410"/>
          </a:xfrm>
        </p:spPr>
        <p:txBody>
          <a:bodyPr/>
          <a:lstStyle>
            <a:lvl1pPr>
              <a:lnSpc>
                <a:spcPct val="100000"/>
              </a:lnSpc>
              <a:spcAft>
                <a:spcPts val="643"/>
              </a:spcAft>
              <a:defRPr sz="2300"/>
            </a:lvl1pPr>
            <a:lvl2pPr>
              <a:lnSpc>
                <a:spcPct val="100000"/>
              </a:lnSpc>
              <a:spcAft>
                <a:spcPts val="643"/>
              </a:spcAft>
              <a:defRPr sz="2300"/>
            </a:lvl2pPr>
            <a:lvl3pPr>
              <a:lnSpc>
                <a:spcPct val="100000"/>
              </a:lnSpc>
              <a:spcAft>
                <a:spcPts val="643"/>
              </a:spcAft>
              <a:defRPr sz="2100"/>
            </a:lvl3pPr>
            <a:lvl4pPr>
              <a:lnSpc>
                <a:spcPct val="100000"/>
              </a:lnSpc>
              <a:spcAft>
                <a:spcPts val="643"/>
              </a:spcAft>
              <a:defRPr sz="2100"/>
            </a:lvl4pPr>
            <a:lvl5pPr>
              <a:lnSpc>
                <a:spcPct val="100000"/>
              </a:lnSpc>
              <a:spcAft>
                <a:spcPts val="643"/>
              </a:spcAft>
              <a:defRPr sz="1300"/>
            </a:lvl5pPr>
            <a:lvl6pPr>
              <a:defRPr sz="2300"/>
            </a:lvl6pPr>
            <a:lvl7pPr>
              <a:defRPr sz="2300"/>
            </a:lvl7pPr>
            <a:lvl8pPr>
              <a:defRPr sz="2300"/>
            </a:lvl8pPr>
            <a:lvl9pPr>
              <a:defRPr sz="23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Rectangle 27"/>
          <p:cNvSpPr>
            <a:spLocks noGrp="1" noChangeArrowheads="1"/>
          </p:cNvSpPr>
          <p:nvPr>
            <p:ph type="ftr" sz="quarter" idx="10"/>
          </p:nvPr>
        </p:nvSpPr>
        <p:spPr>
          <a:xfrm>
            <a:off x="1066800" y="7437755"/>
            <a:ext cx="7307580" cy="174520"/>
          </a:xfrm>
          <a:prstGeom prst="rect">
            <a:avLst/>
          </a:prstGeom>
        </p:spPr>
        <p:txBody>
          <a:bodyPr lIns="117397" tIns="58699" rIns="117397" bIns="58699"/>
          <a:lstStyle>
            <a:lvl1pPr>
              <a:defRPr>
                <a:latin typeface="Calibri" pitchFamily="34" charset="0"/>
                <a:cs typeface="Calibri" pitchFamily="34" charset="0"/>
              </a:defRPr>
            </a:lvl1pPr>
          </a:lstStyle>
          <a:p>
            <a:pPr>
              <a:defRPr/>
            </a:pPr>
            <a:r>
              <a:rPr lang="en-CA" sz="1400" dirty="0" smtClean="0">
                <a:solidFill>
                  <a:srgbClr val="002776"/>
                </a:solidFill>
              </a:rPr>
              <a:t>Enterprise Risk Services | Global Capabilities</a:t>
            </a:r>
            <a:endParaRPr lang="en-CA" sz="1400" dirty="0">
              <a:solidFill>
                <a:srgbClr val="002776"/>
              </a:solidFill>
            </a:endParaRPr>
          </a:p>
        </p:txBody>
      </p:sp>
      <p:sp>
        <p:nvSpPr>
          <p:cNvPr id="6" name="Rectangle 28"/>
          <p:cNvSpPr>
            <a:spLocks noGrp="1" noChangeArrowheads="1"/>
          </p:cNvSpPr>
          <p:nvPr>
            <p:ph type="sldNum" sz="quarter" idx="11"/>
          </p:nvPr>
        </p:nvSpPr>
        <p:spPr>
          <a:xfrm>
            <a:off x="542290" y="7437755"/>
            <a:ext cx="524510" cy="174520"/>
          </a:xfrm>
          <a:prstGeom prst="rect">
            <a:avLst/>
          </a:prstGeom>
        </p:spPr>
        <p:txBody>
          <a:bodyPr lIns="117397" tIns="58699" rIns="117397" bIns="58699"/>
          <a:lstStyle>
            <a:lvl1pPr>
              <a:defRPr>
                <a:latin typeface="Calibri" pitchFamily="34" charset="0"/>
                <a:cs typeface="Calibri" pitchFamily="34" charset="0"/>
              </a:defRPr>
            </a:lvl1pPr>
          </a:lstStyle>
          <a:p>
            <a:pPr>
              <a:defRPr/>
            </a:pPr>
            <a:fld id="{B5CACD99-FE1E-4A5E-93E4-4C96A13F04F0}" type="slidenum">
              <a:rPr lang="en-CA" sz="1400" smtClean="0">
                <a:solidFill>
                  <a:srgbClr val="002776"/>
                </a:solidFill>
              </a:rPr>
              <a:pPr>
                <a:defRPr/>
              </a:pPr>
              <a:t>‹#›</a:t>
            </a:fld>
            <a:endParaRPr lang="en-CA" sz="1400" dirty="0">
              <a:solidFill>
                <a:srgbClr val="002776"/>
              </a:solidFill>
            </a:endParaRPr>
          </a:p>
        </p:txBody>
      </p:sp>
    </p:spTree>
    <p:extLst>
      <p:ext uri="{BB962C8B-B14F-4D97-AF65-F5344CB8AC3E}">
        <p14:creationId xmlns:p14="http://schemas.microsoft.com/office/powerpoint/2010/main" val="306977585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600202" y="3365911"/>
            <a:ext cx="5758498" cy="470898"/>
          </a:xfrm>
          <a:prstGeom prst="rect">
            <a:avLst/>
          </a:prstGeom>
        </p:spPr>
        <p:txBody>
          <a:bodyPr anchor="b" anchorCtr="0">
            <a:spAutoFit/>
          </a:bodyPr>
          <a:lstStyle>
            <a:lvl1pPr>
              <a:lnSpc>
                <a:spcPct val="85000"/>
              </a:lnSpc>
              <a:defRPr sz="3600" b="0" smtClean="0">
                <a:latin typeface="Calibri" pitchFamily="34" charset="0"/>
              </a:defRPr>
            </a:lvl1pPr>
          </a:lstStyle>
          <a:p>
            <a:r>
              <a:rPr lang="en-US" dirty="0" smtClean="0"/>
              <a:t>Click to edit Master title style</a:t>
            </a:r>
          </a:p>
        </p:txBody>
      </p:sp>
      <p:sp>
        <p:nvSpPr>
          <p:cNvPr id="120836" name="Text Placeholder 2"/>
          <p:cNvSpPr>
            <a:spLocks noGrp="1"/>
          </p:cNvSpPr>
          <p:nvPr>
            <p:ph type="subTitle" idx="1"/>
          </p:nvPr>
        </p:nvSpPr>
        <p:spPr bwMode="gray">
          <a:xfrm>
            <a:off x="1600202" y="4181275"/>
            <a:ext cx="5758498" cy="353943"/>
          </a:xfrm>
          <a:prstGeom prst="rect">
            <a:avLst/>
          </a:prstGeom>
        </p:spPr>
        <p:txBody>
          <a:bodyPr>
            <a:spAutoFit/>
          </a:bodyPr>
          <a:lstStyle>
            <a:lvl1pPr>
              <a:lnSpc>
                <a:spcPct val="100000"/>
              </a:lnSpc>
              <a:defRPr sz="2300" b="1" smtClean="0">
                <a:latin typeface="Calibri" pitchFamily="34" charset="0"/>
              </a:defRPr>
            </a:lvl1pPr>
          </a:lstStyle>
          <a:p>
            <a:r>
              <a:rPr lang="en-US" dirty="0" smtClean="0"/>
              <a:t>Click to edit Master subtitle style</a:t>
            </a:r>
            <a:endParaRPr dirty="0" smtClean="0"/>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566738" y="343642"/>
            <a:ext cx="2291397" cy="349038"/>
          </a:xfrm>
          <a:prstGeom prst="rect">
            <a:avLst/>
          </a:prstGeom>
          <a:noFill/>
        </p:spPr>
      </p:pic>
    </p:spTree>
    <p:extLst>
      <p:ext uri="{BB962C8B-B14F-4D97-AF65-F5344CB8AC3E}">
        <p14:creationId xmlns:p14="http://schemas.microsoft.com/office/powerpoint/2010/main" val="3531602083"/>
      </p:ext>
    </p:extLst>
  </p:cSld>
  <p:clrMapOvr>
    <a:masterClrMapping/>
  </p:clrMapOvr>
  <p:transition/>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Divider">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576072" y="3501303"/>
            <a:ext cx="6055157" cy="470898"/>
          </a:xfrm>
          <a:prstGeom prst="rect">
            <a:avLst/>
          </a:prstGeom>
        </p:spPr>
        <p:txBody>
          <a:bodyPr>
            <a:spAutoFit/>
          </a:bodyPr>
          <a:lstStyle>
            <a:lvl1pPr>
              <a:lnSpc>
                <a:spcPct val="85000"/>
              </a:lnSpc>
              <a:defRPr sz="3600" b="1" smtClean="0">
                <a:latin typeface="Calibri" pitchFamily="34" charset="0"/>
              </a:defRPr>
            </a:lvl1pPr>
          </a:lstStyle>
          <a:p>
            <a:r>
              <a:rPr lang="en-US" dirty="0" smtClean="0"/>
              <a:t>Click to edit Master title style</a:t>
            </a:r>
          </a:p>
        </p:txBody>
      </p:sp>
      <p:sp>
        <p:nvSpPr>
          <p:cNvPr id="120836" name="Text Placeholder 2"/>
          <p:cNvSpPr>
            <a:spLocks noGrp="1"/>
          </p:cNvSpPr>
          <p:nvPr>
            <p:ph type="subTitle" idx="1"/>
          </p:nvPr>
        </p:nvSpPr>
        <p:spPr bwMode="gray">
          <a:xfrm>
            <a:off x="576072" y="4186733"/>
            <a:ext cx="6055157" cy="400110"/>
          </a:xfrm>
          <a:prstGeom prst="rect">
            <a:avLst/>
          </a:prstGeom>
        </p:spPr>
        <p:txBody>
          <a:bodyPr>
            <a:spAutoFit/>
          </a:bodyPr>
          <a:lstStyle>
            <a:lvl1pPr>
              <a:lnSpc>
                <a:spcPct val="100000"/>
              </a:lnSpc>
              <a:defRPr sz="2600" b="0" smtClean="0">
                <a:latin typeface="Calibri" pitchFamily="34" charset="0"/>
              </a:defRPr>
            </a:lvl1pPr>
          </a:lstStyle>
          <a:p>
            <a:r>
              <a:rPr lang="en-US" dirty="0" smtClean="0"/>
              <a:t>Click to edit Master subtitle style</a:t>
            </a:r>
            <a:endParaRPr dirty="0" smtClean="0"/>
          </a:p>
        </p:txBody>
      </p:sp>
    </p:spTree>
    <p:extLst>
      <p:ext uri="{BB962C8B-B14F-4D97-AF65-F5344CB8AC3E}">
        <p14:creationId xmlns:p14="http://schemas.microsoft.com/office/powerpoint/2010/main" val="328222620"/>
      </p:ext>
    </p:extLst>
  </p:cSld>
  <p:clrMapOvr>
    <a:masterClrMapping/>
  </p:clrMapOvr>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576072" y="3095805"/>
            <a:ext cx="11409871" cy="876394"/>
          </a:xfrm>
          <a:prstGeom prst="rect">
            <a:avLst/>
          </a:prstGeom>
        </p:spPr>
        <p:txBody>
          <a:bodyPr anchor="b" anchorCtr="0">
            <a:spAutoFit/>
          </a:bodyPr>
          <a:lstStyle>
            <a:lvl1pPr>
              <a:lnSpc>
                <a:spcPct val="85000"/>
              </a:lnSpc>
              <a:defRPr sz="6700" b="0" smtClean="0">
                <a:solidFill>
                  <a:schemeClr val="bg1"/>
                </a:solidFill>
                <a:latin typeface="Calibri" pitchFamily="34" charset="0"/>
                <a:cs typeface="Calibri" pitchFamily="34" charset="0"/>
              </a:defRPr>
            </a:lvl1pPr>
          </a:lstStyle>
          <a:p>
            <a:r>
              <a:rPr lang="en-US" dirty="0" smtClean="0"/>
              <a:t>Click to edit Master title style</a:t>
            </a:r>
          </a:p>
        </p:txBody>
      </p:sp>
      <p:sp>
        <p:nvSpPr>
          <p:cNvPr id="120836" name="Text Placeholder 2"/>
          <p:cNvSpPr>
            <a:spLocks noGrp="1"/>
          </p:cNvSpPr>
          <p:nvPr>
            <p:ph type="subTitle" idx="1"/>
          </p:nvPr>
        </p:nvSpPr>
        <p:spPr bwMode="auto">
          <a:xfrm>
            <a:off x="576072" y="4186733"/>
            <a:ext cx="6055157" cy="353943"/>
          </a:xfrm>
          <a:prstGeom prst="rect">
            <a:avLst/>
          </a:prstGeom>
        </p:spPr>
        <p:txBody>
          <a:bodyPr>
            <a:spAutoFit/>
          </a:bodyPr>
          <a:lstStyle>
            <a:lvl1pPr>
              <a:lnSpc>
                <a:spcPct val="100000"/>
              </a:lnSpc>
              <a:defRPr sz="2300" b="1" smtClean="0">
                <a:solidFill>
                  <a:schemeClr val="bg1"/>
                </a:solidFill>
                <a:latin typeface="Calibri" pitchFamily="34" charset="0"/>
              </a:defRPr>
            </a:lvl1pPr>
          </a:lstStyle>
          <a:p>
            <a:r>
              <a:rPr lang="en-US" dirty="0" smtClean="0"/>
              <a:t>Click to edit Master subtitle style</a:t>
            </a:r>
            <a:endParaRPr dirty="0" smtClean="0"/>
          </a:p>
        </p:txBody>
      </p:sp>
    </p:spTree>
    <p:extLst>
      <p:ext uri="{BB962C8B-B14F-4D97-AF65-F5344CB8AC3E}">
        <p14:creationId xmlns:p14="http://schemas.microsoft.com/office/powerpoint/2010/main" val="2425012703"/>
      </p:ext>
    </p:extLst>
  </p:cSld>
  <p:clrMapOvr>
    <a:masterClrMapping/>
  </p:clrMapOvr>
  <p:transition/>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576085"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339" rtl="0" eaLnBrk="1" fontAlgn="base" latinLnBrk="0" hangingPunct="1">
              <a:lnSpc>
                <a:spcPct val="100000"/>
              </a:lnSpc>
              <a:spcAft>
                <a:spcPct val="0"/>
              </a:spcAft>
              <a:buFont typeface="Arial" pitchFamily="34" charset="0"/>
              <a:tabLst>
                <a:tab pos="4995016" algn="r"/>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339" rtl="0" eaLnBrk="1" fontAlgn="base" latinLnBrk="0" hangingPunct="1">
              <a:lnSpc>
                <a:spcPct val="100000"/>
              </a:lnSpc>
              <a:spcAft>
                <a:spcPct val="0"/>
              </a:spcAft>
              <a:buFont typeface="Arial" pitchFamily="34" charset="0"/>
              <a:tabLst>
                <a:tab pos="4995016" algn="r"/>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339" rtl="0" eaLnBrk="1" fontAlgn="base" latinLnBrk="0" hangingPunct="1">
              <a:lnSpc>
                <a:spcPct val="100000"/>
              </a:lnSpc>
              <a:spcAft>
                <a:spcPct val="0"/>
              </a:spcAft>
              <a:buFont typeface="Arial" pitchFamily="34" charset="0"/>
              <a:tabLst>
                <a:tab pos="4986861" algn="r"/>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339" rtl="0" eaLnBrk="1" fontAlgn="base" latinLnBrk="0" hangingPunct="1">
              <a:lnSpc>
                <a:spcPct val="100000"/>
              </a:lnSpc>
              <a:spcAft>
                <a:spcPct val="0"/>
              </a:spcAft>
              <a:buFont typeface="Arial" pitchFamily="34" charset="0"/>
              <a:tabLst>
                <a:tab pos="4995016" algn="r"/>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339" rtl="0" eaLnBrk="1" fontAlgn="base" latinLnBrk="0" hangingPunct="1">
              <a:lnSpc>
                <a:spcPct val="100000"/>
              </a:lnSpc>
              <a:spcAft>
                <a:spcPct val="0"/>
              </a:spcAft>
              <a:buFont typeface="Arial" pitchFamily="34" charset="0"/>
              <a:tabLst>
                <a:tab pos="4995016" algn="r"/>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5016"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4339"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9961784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0"/>
            <a:ext cx="11662258" cy="5539130"/>
          </a:xfrm>
          <a:prstGeom prst="rect">
            <a:avLst/>
          </a:prstGeom>
        </p:spPr>
        <p:txBody>
          <a:bodyPr vert="horz" lIns="0" tIns="0" rIns="0" bIns="0" rtlCol="0">
            <a:noAutofit/>
          </a:bodyPr>
          <a:lstStyle>
            <a:lvl1pPr marL="0" marR="0" indent="0" algn="l" defTabSz="1174339" rtl="0" eaLnBrk="1" fontAlgn="base" latinLnBrk="0" hangingPunct="1">
              <a:lnSpc>
                <a:spcPct val="100000"/>
              </a:lnSpc>
              <a:spcBef>
                <a:spcPts val="2829"/>
              </a:spcBef>
              <a:spcAft>
                <a:spcPct val="0"/>
              </a:spcAft>
              <a:buClrTx/>
              <a:buSzTx/>
              <a:buFont typeface="Arial" pitchFamily="34" charset="0"/>
              <a:buNone/>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L="224267" marR="0" indent="-222229"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5pPr>
            <a:lvl6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33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4339"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8431763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576085"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5016"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18"/>
          <p:cNvSpPr>
            <a:spLocks noGrp="1"/>
          </p:cNvSpPr>
          <p:nvPr>
            <p:ph type="body" sz="quarter" idx="13"/>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33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6"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4339"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7" name="Content Placeholder 20"/>
          <p:cNvSpPr>
            <a:spLocks noGrp="1"/>
          </p:cNvSpPr>
          <p:nvPr>
            <p:ph sz="quarter" idx="14"/>
          </p:nvPr>
        </p:nvSpPr>
        <p:spPr bwMode="gray">
          <a:xfrm>
            <a:off x="6614175"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5016"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531216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2" name="Text Placeholder 18"/>
          <p:cNvSpPr>
            <a:spLocks noGrp="1"/>
          </p:cNvSpPr>
          <p:nvPr>
            <p:ph type="body" sz="quarter" idx="13"/>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33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7"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Calibri" pitchFamily="34" charset="0"/>
              </a:defRPr>
            </a:lvl1pPr>
          </a:lstStyle>
          <a:p>
            <a:pPr marL="0" marR="0" lvl="0" indent="0" algn="l" defTabSz="117433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8" name="Content Placeholder 20"/>
          <p:cNvSpPr>
            <a:spLocks noGrp="1"/>
          </p:cNvSpPr>
          <p:nvPr>
            <p:ph sz="quarter" idx="11"/>
          </p:nvPr>
        </p:nvSpPr>
        <p:spPr bwMode="gray">
          <a:xfrm>
            <a:off x="576072" y="1585570"/>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5016"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0"/>
          <p:cNvSpPr>
            <a:spLocks noGrp="1"/>
          </p:cNvSpPr>
          <p:nvPr>
            <p:ph sz="quarter" idx="14"/>
          </p:nvPr>
        </p:nvSpPr>
        <p:spPr bwMode="gray">
          <a:xfrm>
            <a:off x="4543874" y="1585570"/>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5016"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0"/>
          <p:cNvSpPr>
            <a:spLocks noGrp="1"/>
          </p:cNvSpPr>
          <p:nvPr>
            <p:ph sz="quarter" idx="15"/>
          </p:nvPr>
        </p:nvSpPr>
        <p:spPr bwMode="gray">
          <a:xfrm>
            <a:off x="8496893" y="1585570"/>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5016"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942805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576072" y="3095805"/>
            <a:ext cx="11409871" cy="876394"/>
          </a:xfrm>
          <a:prstGeom prst="rect">
            <a:avLst/>
          </a:prstGeom>
        </p:spPr>
        <p:txBody>
          <a:bodyPr anchor="b" anchorCtr="0">
            <a:spAutoFit/>
          </a:bodyPr>
          <a:lstStyle>
            <a:lvl1pPr>
              <a:lnSpc>
                <a:spcPct val="85000"/>
              </a:lnSpc>
              <a:defRPr sz="6700" b="0" smtClean="0">
                <a:solidFill>
                  <a:schemeClr val="bg1"/>
                </a:solidFill>
                <a:latin typeface="Calibri" pitchFamily="34" charset="0"/>
                <a:cs typeface="Calibri" pitchFamily="34" charset="0"/>
              </a:defRPr>
            </a:lvl1pPr>
          </a:lstStyle>
          <a:p>
            <a:r>
              <a:rPr lang="en-US" dirty="0" smtClean="0"/>
              <a:t>Click to edit Master title style</a:t>
            </a:r>
          </a:p>
        </p:txBody>
      </p:sp>
      <p:sp>
        <p:nvSpPr>
          <p:cNvPr id="120836" name="Text Placeholder 2"/>
          <p:cNvSpPr>
            <a:spLocks noGrp="1"/>
          </p:cNvSpPr>
          <p:nvPr>
            <p:ph type="subTitle" idx="1"/>
          </p:nvPr>
        </p:nvSpPr>
        <p:spPr bwMode="auto">
          <a:xfrm>
            <a:off x="576072" y="4186733"/>
            <a:ext cx="6055157" cy="353943"/>
          </a:xfrm>
          <a:prstGeom prst="rect">
            <a:avLst/>
          </a:prstGeom>
        </p:spPr>
        <p:txBody>
          <a:bodyPr>
            <a:spAutoFit/>
          </a:bodyPr>
          <a:lstStyle>
            <a:lvl1pPr>
              <a:lnSpc>
                <a:spcPct val="100000"/>
              </a:lnSpc>
              <a:defRPr sz="2300" b="1" smtClean="0">
                <a:solidFill>
                  <a:schemeClr val="bg1"/>
                </a:solidFill>
                <a:latin typeface="Calibri" pitchFamily="34" charset="0"/>
              </a:defRPr>
            </a:lvl1pPr>
          </a:lstStyle>
          <a:p>
            <a:r>
              <a:rPr lang="en-US" dirty="0" smtClean="0"/>
              <a:t>Click to edit Master subtitle style</a:t>
            </a:r>
            <a:endParaRPr dirty="0" smtClean="0"/>
          </a:p>
        </p:txBody>
      </p:sp>
    </p:spTree>
    <p:extLst>
      <p:ext uri="{BB962C8B-B14F-4D97-AF65-F5344CB8AC3E}">
        <p14:creationId xmlns:p14="http://schemas.microsoft.com/office/powerpoint/2010/main" val="1512887148"/>
      </p:ext>
    </p:extLst>
  </p:cSld>
  <p:clrMapOvr>
    <a:masterClrMapping/>
  </p:clrMapOvr>
  <p:transition/>
  <p:timing>
    <p:tnLst>
      <p:par>
        <p:cTn id="1" dur="indefinite" restart="never" nodeType="tmRoot"/>
      </p:par>
    </p:tnLst>
  </p:timing>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576069" y="2123015"/>
            <a:ext cx="11662258" cy="1933863"/>
          </a:xfrm>
          <a:prstGeom prst="rect">
            <a:avLst/>
          </a:prstGeom>
        </p:spPr>
        <p:txBody>
          <a:bodyPr/>
          <a:lstStyle>
            <a:lvl1pPr>
              <a:defRPr>
                <a:latin typeface="Calibri" pitchFamily="34" charset="0"/>
              </a:defRPr>
            </a:lvl1pPr>
            <a:lvl2pPr>
              <a:defRPr lang="en-US" sz="2300" kern="1200" dirty="0" smtClean="0">
                <a:solidFill>
                  <a:schemeClr val="tx2"/>
                </a:solidFill>
                <a:latin typeface="Calibri" pitchFamily="34" charset="0"/>
                <a:ea typeface="+mn-ea"/>
                <a:cs typeface="+mn-cs"/>
              </a:defRPr>
            </a:lvl2pPr>
            <a:lvl3pPr>
              <a:defRPr lang="en-US" sz="2100" kern="1200" dirty="0" smtClean="0">
                <a:solidFill>
                  <a:schemeClr val="tx2"/>
                </a:solidFill>
                <a:latin typeface="Calibri" pitchFamily="34" charset="0"/>
                <a:ea typeface="+mn-ea"/>
                <a:cs typeface="+mn-cs"/>
              </a:defRPr>
            </a:lvl3pPr>
            <a:lvl4pPr>
              <a:defRPr lang="en-US" sz="2100" kern="1200" dirty="0" smtClean="0">
                <a:solidFill>
                  <a:schemeClr val="tx2"/>
                </a:solidFill>
                <a:latin typeface="Calibri" pitchFamily="34" charset="0"/>
                <a:ea typeface="+mn-ea"/>
                <a:cs typeface="+mn-cs"/>
              </a:defRPr>
            </a:lvl4pPr>
            <a:lvl5pPr>
              <a:defRPr lang="en-US" sz="2100" kern="1200" dirty="0">
                <a:solidFill>
                  <a:schemeClr val="tx2"/>
                </a:solidFill>
                <a:latin typeface="Calibri"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bwMode="gray">
          <a:xfrm>
            <a:off x="580073" y="1583268"/>
            <a:ext cx="11662258" cy="353943"/>
          </a:xfrm>
          <a:prstGeom prst="rect">
            <a:avLst/>
          </a:prstGeom>
        </p:spPr>
        <p:txBody>
          <a:bodyPr>
            <a:spAutoFit/>
          </a:bodyPr>
          <a:lstStyle>
            <a:lvl1pPr>
              <a:defRPr sz="2300" b="1">
                <a:latin typeface="Calibri" pitchFamily="34" charset="0"/>
              </a:defRPr>
            </a:lvl1pPr>
          </a:lstStyle>
          <a:p>
            <a:pPr lvl="0"/>
            <a:r>
              <a:rPr lang="en-US" dirty="0" smtClean="0"/>
              <a:t>Click to edit Master text styles</a:t>
            </a:r>
          </a:p>
        </p:txBody>
      </p:sp>
      <p:sp>
        <p:nvSpPr>
          <p:cNvPr id="7" name="Text Placeholder 13"/>
          <p:cNvSpPr>
            <a:spLocks noGrp="1"/>
          </p:cNvSpPr>
          <p:nvPr>
            <p:ph type="body" sz="quarter" idx="15"/>
          </p:nvPr>
        </p:nvSpPr>
        <p:spPr bwMode="gray">
          <a:xfrm>
            <a:off x="576072" y="6965634"/>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chemeClr val="tx2"/>
                </a:solidFill>
                <a:latin typeface="Calibri" pitchFamily="34" charset="0"/>
                <a:ea typeface="+mn-ea"/>
                <a:cs typeface="Calibri"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p:txBody>
      </p:sp>
      <p:sp>
        <p:nvSpPr>
          <p:cNvPr id="13" name="Text Placeholder 18"/>
          <p:cNvSpPr>
            <a:spLocks noGrp="1"/>
          </p:cNvSpPr>
          <p:nvPr>
            <p:ph type="body" sz="quarter" idx="16"/>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33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8"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Calibri" pitchFamily="34" charset="0"/>
              </a:defRPr>
            </a:lvl1pPr>
          </a:lstStyle>
          <a:p>
            <a:pPr marL="0" marR="0" lvl="0" indent="0" algn="l" defTabSz="117433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34571568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576085" y="2123014"/>
            <a:ext cx="5598817" cy="1933863"/>
          </a:xfrm>
          <a:prstGeom prst="rect">
            <a:avLst/>
          </a:prstGeom>
        </p:spPr>
        <p:txBody>
          <a:bodyPr/>
          <a:lstStyle>
            <a:lvl1pPr>
              <a:defRPr>
                <a:latin typeface="Calibri" pitchFamily="34" charset="0"/>
              </a:defRPr>
            </a:lvl1pPr>
            <a:lvl2pPr>
              <a:defRPr lang="en-US" sz="2300" kern="1200" dirty="0" smtClean="0">
                <a:solidFill>
                  <a:schemeClr val="tx2"/>
                </a:solidFill>
                <a:latin typeface="Calibri" pitchFamily="34" charset="0"/>
                <a:ea typeface="+mn-ea"/>
                <a:cs typeface="+mn-cs"/>
              </a:defRPr>
            </a:lvl2pPr>
            <a:lvl3pPr>
              <a:defRPr lang="en-US" sz="2100" kern="1200" dirty="0" smtClean="0">
                <a:solidFill>
                  <a:schemeClr val="tx2"/>
                </a:solidFill>
                <a:latin typeface="Calibri" pitchFamily="34" charset="0"/>
                <a:ea typeface="+mn-ea"/>
                <a:cs typeface="+mn-cs"/>
              </a:defRPr>
            </a:lvl3pPr>
            <a:lvl4pPr>
              <a:defRPr lang="en-US" sz="2100" kern="1200" dirty="0" smtClean="0">
                <a:solidFill>
                  <a:schemeClr val="tx2"/>
                </a:solidFill>
                <a:latin typeface="Calibri" pitchFamily="34" charset="0"/>
                <a:ea typeface="+mn-ea"/>
                <a:cs typeface="+mn-cs"/>
              </a:defRPr>
            </a:lvl4pPr>
            <a:lvl5pPr>
              <a:defRPr lang="en-US" sz="2100" kern="1200" dirty="0">
                <a:solidFill>
                  <a:schemeClr val="tx2"/>
                </a:solidFill>
                <a:latin typeface="Calibri"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bwMode="gray">
          <a:xfrm>
            <a:off x="580073" y="1583268"/>
            <a:ext cx="5594299" cy="353943"/>
          </a:xfrm>
          <a:prstGeom prst="rect">
            <a:avLst/>
          </a:prstGeom>
        </p:spPr>
        <p:txBody>
          <a:bodyPr>
            <a:spAutoFit/>
          </a:bodyPr>
          <a:lstStyle>
            <a:lvl1pPr>
              <a:defRPr sz="2300" b="1">
                <a:latin typeface="Calibri" pitchFamily="34" charset="0"/>
              </a:defRPr>
            </a:lvl1pPr>
          </a:lstStyle>
          <a:p>
            <a:pPr lvl="0"/>
            <a:r>
              <a:rPr lang="en-US" dirty="0" smtClean="0"/>
              <a:t>Click to edit Master text styles</a:t>
            </a:r>
          </a:p>
        </p:txBody>
      </p:sp>
      <p:sp>
        <p:nvSpPr>
          <p:cNvPr id="14" name="Text Placeholder 13"/>
          <p:cNvSpPr>
            <a:spLocks noGrp="1"/>
          </p:cNvSpPr>
          <p:nvPr>
            <p:ph type="body" sz="quarter" idx="15"/>
          </p:nvPr>
        </p:nvSpPr>
        <p:spPr bwMode="gray">
          <a:xfrm>
            <a:off x="576072" y="6965634"/>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rgbClr val="002776"/>
                </a:solidFill>
                <a:latin typeface="Calibri" pitchFamily="34" charset="0"/>
                <a:ea typeface="+mn-ea"/>
                <a:cs typeface="Calibri"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p:txBody>
      </p:sp>
      <p:sp>
        <p:nvSpPr>
          <p:cNvPr id="15" name="Text Placeholder 13"/>
          <p:cNvSpPr>
            <a:spLocks noGrp="1"/>
          </p:cNvSpPr>
          <p:nvPr>
            <p:ph type="body" sz="quarter" idx="16"/>
          </p:nvPr>
        </p:nvSpPr>
        <p:spPr bwMode="gray">
          <a:xfrm>
            <a:off x="6632986" y="6965634"/>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rgbClr val="002776"/>
                </a:solidFill>
                <a:latin typeface="Calibri" pitchFamily="34" charset="0"/>
                <a:ea typeface="+mn-ea"/>
                <a:cs typeface="Calibri"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p:txBody>
      </p:sp>
      <p:sp>
        <p:nvSpPr>
          <p:cNvPr id="17" name="Text Placeholder 18"/>
          <p:cNvSpPr>
            <a:spLocks noGrp="1"/>
          </p:cNvSpPr>
          <p:nvPr>
            <p:ph type="body" sz="quarter" idx="17"/>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33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10"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Calibri" pitchFamily="34" charset="0"/>
              </a:defRPr>
            </a:lvl1pPr>
          </a:lstStyle>
          <a:p>
            <a:pPr marL="0" marR="0" lvl="0" indent="0" algn="l" defTabSz="117433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11" name="Content Placeholder 20"/>
          <p:cNvSpPr>
            <a:spLocks noGrp="1"/>
          </p:cNvSpPr>
          <p:nvPr>
            <p:ph sz="quarter" idx="18"/>
          </p:nvPr>
        </p:nvSpPr>
        <p:spPr bwMode="gray">
          <a:xfrm>
            <a:off x="6614175" y="2123014"/>
            <a:ext cx="5598817" cy="1933863"/>
          </a:xfrm>
          <a:prstGeom prst="rect">
            <a:avLst/>
          </a:prstGeom>
        </p:spPr>
        <p:txBody>
          <a:bodyPr/>
          <a:lstStyle>
            <a:lvl1pPr>
              <a:defRPr>
                <a:latin typeface="Calibri" pitchFamily="34" charset="0"/>
              </a:defRPr>
            </a:lvl1pPr>
            <a:lvl2pPr>
              <a:defRPr lang="en-US" sz="2300" kern="1200" dirty="0" smtClean="0">
                <a:solidFill>
                  <a:schemeClr val="tx2"/>
                </a:solidFill>
                <a:latin typeface="Calibri" pitchFamily="34" charset="0"/>
                <a:ea typeface="+mn-ea"/>
                <a:cs typeface="+mn-cs"/>
              </a:defRPr>
            </a:lvl2pPr>
            <a:lvl3pPr>
              <a:defRPr lang="en-US" sz="2100" kern="1200" dirty="0" smtClean="0">
                <a:solidFill>
                  <a:schemeClr val="tx2"/>
                </a:solidFill>
                <a:latin typeface="Calibri" pitchFamily="34" charset="0"/>
                <a:ea typeface="+mn-ea"/>
                <a:cs typeface="+mn-cs"/>
              </a:defRPr>
            </a:lvl3pPr>
            <a:lvl4pPr>
              <a:defRPr lang="en-US" sz="2100" kern="1200" dirty="0" smtClean="0">
                <a:solidFill>
                  <a:schemeClr val="tx2"/>
                </a:solidFill>
                <a:latin typeface="Calibri" pitchFamily="34" charset="0"/>
                <a:ea typeface="+mn-ea"/>
                <a:cs typeface="+mn-cs"/>
              </a:defRPr>
            </a:lvl4pPr>
            <a:lvl5pPr>
              <a:defRPr lang="en-US" sz="2100" kern="1200" dirty="0">
                <a:solidFill>
                  <a:schemeClr val="tx2"/>
                </a:solidFill>
                <a:latin typeface="Calibri"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11"/>
          <p:cNvSpPr>
            <a:spLocks noGrp="1"/>
          </p:cNvSpPr>
          <p:nvPr>
            <p:ph type="body" sz="quarter" idx="19"/>
          </p:nvPr>
        </p:nvSpPr>
        <p:spPr bwMode="gray">
          <a:xfrm>
            <a:off x="6618164" y="1583268"/>
            <a:ext cx="5594299" cy="353943"/>
          </a:xfrm>
          <a:prstGeom prst="rect">
            <a:avLst/>
          </a:prstGeom>
        </p:spPr>
        <p:txBody>
          <a:bodyPr>
            <a:spAutoFit/>
          </a:bodyPr>
          <a:lstStyle>
            <a:lvl1pPr>
              <a:defRPr sz="2300" b="1">
                <a:latin typeface="Calibri"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19722720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4339"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34221050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2" cstate="print"/>
          <a:srcRect l="11237" t="27428" r="9845" b="25551"/>
          <a:stretch>
            <a:fillRect/>
          </a:stretch>
        </p:blipFill>
        <p:spPr bwMode="gray">
          <a:xfrm>
            <a:off x="3982735" y="3436420"/>
            <a:ext cx="4831715" cy="895985"/>
          </a:xfrm>
          <a:prstGeom prst="rect">
            <a:avLst/>
          </a:prstGeom>
          <a:noFill/>
          <a:ln w="9525">
            <a:noFill/>
            <a:miter lim="800000"/>
            <a:headEnd/>
            <a:tailEnd/>
          </a:ln>
        </p:spPr>
      </p:pic>
      <p:sp>
        <p:nvSpPr>
          <p:cNvPr id="3" name="Text Placeholder 5"/>
          <p:cNvSpPr>
            <a:spLocks noGrp="1"/>
          </p:cNvSpPr>
          <p:nvPr>
            <p:ph type="body" sz="quarter" idx="10"/>
          </p:nvPr>
        </p:nvSpPr>
        <p:spPr bwMode="gray">
          <a:xfrm>
            <a:off x="563270" y="6186835"/>
            <a:ext cx="6912864" cy="1305763"/>
          </a:xfrm>
        </p:spPr>
        <p:txBody>
          <a:bodyPr anchor="b" anchorCtr="0">
            <a:noAutofit/>
          </a:bodyPr>
          <a:lstStyle>
            <a:lvl1pPr>
              <a:lnSpc>
                <a:spcPts val="1029"/>
              </a:lnSpc>
              <a:spcBef>
                <a:spcPts val="514"/>
              </a:spcBef>
              <a:spcAft>
                <a:spcPts val="514"/>
              </a:spcAft>
              <a:defRPr sz="900"/>
            </a:lvl1pPr>
          </a:lstStyle>
          <a:p>
            <a:pPr lvl="0"/>
            <a:r>
              <a:rPr lang="en-US" smtClean="0"/>
              <a:t>Click to edit Master text styles</a:t>
            </a:r>
          </a:p>
        </p:txBody>
      </p:sp>
    </p:spTree>
    <p:extLst>
      <p:ext uri="{BB962C8B-B14F-4D97-AF65-F5344CB8AC3E}">
        <p14:creationId xmlns:p14="http://schemas.microsoft.com/office/powerpoint/2010/main" val="778373166"/>
      </p:ext>
    </p:extLst>
  </p:cSld>
  <p:clrMapOvr>
    <a:masterClrMapping/>
  </p:clrMapOvr>
  <p:transition/>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spAutoFit/>
          </a:bodyPr>
          <a:lstStyle/>
          <a:p>
            <a:r>
              <a:rPr lang="en-US" smtClean="0"/>
              <a:t>Click to edit Master title style</a:t>
            </a:r>
            <a:endParaRPr lang="en-US" dirty="0"/>
          </a:p>
        </p:txBody>
      </p:sp>
      <p:sp>
        <p:nvSpPr>
          <p:cNvPr id="3" name="Text Placeholder 7"/>
          <p:cNvSpPr>
            <a:spLocks noGrp="1"/>
          </p:cNvSpPr>
          <p:nvPr>
            <p:ph type="body" sz="quarter" idx="11"/>
          </p:nvPr>
        </p:nvSpPr>
        <p:spPr bwMode="gray">
          <a:xfrm>
            <a:off x="580073" y="883403"/>
            <a:ext cx="11662258" cy="290849"/>
          </a:xfrm>
          <a:noFill/>
          <a:ln w="9525">
            <a:noFill/>
            <a:miter lim="800000"/>
            <a:headEnd/>
            <a:tailEnd/>
          </a:ln>
        </p:spPr>
        <p:txBody>
          <a:bodyPr lIns="0" tIns="0" rIns="0" bIns="0">
            <a:spAutoFit/>
          </a:bodyPr>
          <a:lstStyle>
            <a:lvl1pPr algn="l" rtl="0" eaLnBrk="0" fontAlgn="base" hangingPunct="0">
              <a:lnSpc>
                <a:spcPct val="90000"/>
              </a:lnSpc>
              <a:spcBef>
                <a:spcPct val="0"/>
              </a:spcBef>
              <a:spcAft>
                <a:spcPct val="0"/>
              </a:spcAft>
              <a:defRPr lang="en-US" sz="2100" b="0" kern="1200" dirty="0">
                <a:solidFill>
                  <a:schemeClr val="tx1"/>
                </a:solidFill>
                <a:latin typeface="Calibri" pitchFamily="34" charset="0"/>
                <a:ea typeface="+mn-ea"/>
                <a:cs typeface="Calibri"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12948933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600202" y="3365911"/>
            <a:ext cx="5758498" cy="470898"/>
          </a:xfrm>
          <a:prstGeom prst="rect">
            <a:avLst/>
          </a:prstGeom>
        </p:spPr>
        <p:txBody>
          <a:bodyPr anchor="b" anchorCtr="0">
            <a:spAutoFit/>
          </a:bodyPr>
          <a:lstStyle>
            <a:lvl1pPr>
              <a:lnSpc>
                <a:spcPct val="85000"/>
              </a:lnSpc>
              <a:defRPr sz="3600" b="0" smtClean="0">
                <a:latin typeface="Calibri" pitchFamily="34" charset="0"/>
              </a:defRPr>
            </a:lvl1pPr>
          </a:lstStyle>
          <a:p>
            <a:r>
              <a:rPr lang="en-US" dirty="0" smtClean="0"/>
              <a:t>Click to edit Master title style</a:t>
            </a:r>
          </a:p>
        </p:txBody>
      </p:sp>
      <p:sp>
        <p:nvSpPr>
          <p:cNvPr id="120836" name="Text Placeholder 2"/>
          <p:cNvSpPr>
            <a:spLocks noGrp="1"/>
          </p:cNvSpPr>
          <p:nvPr>
            <p:ph type="subTitle" idx="1"/>
          </p:nvPr>
        </p:nvSpPr>
        <p:spPr bwMode="gray">
          <a:xfrm>
            <a:off x="1600202" y="4181275"/>
            <a:ext cx="5758498" cy="353943"/>
          </a:xfrm>
          <a:prstGeom prst="rect">
            <a:avLst/>
          </a:prstGeom>
        </p:spPr>
        <p:txBody>
          <a:bodyPr>
            <a:spAutoFit/>
          </a:bodyPr>
          <a:lstStyle>
            <a:lvl1pPr>
              <a:lnSpc>
                <a:spcPct val="100000"/>
              </a:lnSpc>
              <a:defRPr sz="2300" b="1" smtClean="0">
                <a:latin typeface="Calibri" pitchFamily="34" charset="0"/>
              </a:defRPr>
            </a:lvl1pPr>
          </a:lstStyle>
          <a:p>
            <a:r>
              <a:rPr lang="en-US" dirty="0" smtClean="0"/>
              <a:t>Click to edit Master subtitle style</a:t>
            </a:r>
            <a:endParaRPr dirty="0" smtClean="0"/>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566738" y="343642"/>
            <a:ext cx="2291397" cy="349038"/>
          </a:xfrm>
          <a:prstGeom prst="rect">
            <a:avLst/>
          </a:prstGeom>
          <a:noFill/>
        </p:spPr>
      </p:pic>
    </p:spTree>
    <p:extLst>
      <p:ext uri="{BB962C8B-B14F-4D97-AF65-F5344CB8AC3E}">
        <p14:creationId xmlns:p14="http://schemas.microsoft.com/office/powerpoint/2010/main" val="983668148"/>
      </p:ext>
    </p:extLst>
  </p:cSld>
  <p:clrMapOvr>
    <a:masterClrMapping/>
  </p:clrMapOvr>
  <p:transition/>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576085"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339" rtl="0" eaLnBrk="1" fontAlgn="base" latinLnBrk="0" hangingPunct="1">
              <a:lnSpc>
                <a:spcPct val="100000"/>
              </a:lnSpc>
              <a:spcAft>
                <a:spcPct val="0"/>
              </a:spcAft>
              <a:buFont typeface="Arial" pitchFamily="34" charset="0"/>
              <a:tabLst>
                <a:tab pos="4995016" algn="r"/>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339" rtl="0" eaLnBrk="1" fontAlgn="base" latinLnBrk="0" hangingPunct="1">
              <a:lnSpc>
                <a:spcPct val="100000"/>
              </a:lnSpc>
              <a:spcAft>
                <a:spcPct val="0"/>
              </a:spcAft>
              <a:buFont typeface="Arial" pitchFamily="34" charset="0"/>
              <a:tabLst>
                <a:tab pos="4995016" algn="r"/>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339" rtl="0" eaLnBrk="1" fontAlgn="base" latinLnBrk="0" hangingPunct="1">
              <a:lnSpc>
                <a:spcPct val="100000"/>
              </a:lnSpc>
              <a:spcAft>
                <a:spcPct val="0"/>
              </a:spcAft>
              <a:buFont typeface="Arial" pitchFamily="34" charset="0"/>
              <a:tabLst>
                <a:tab pos="4986861" algn="r"/>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339" rtl="0" eaLnBrk="1" fontAlgn="base" latinLnBrk="0" hangingPunct="1">
              <a:lnSpc>
                <a:spcPct val="100000"/>
              </a:lnSpc>
              <a:spcAft>
                <a:spcPct val="0"/>
              </a:spcAft>
              <a:buFont typeface="Arial" pitchFamily="34" charset="0"/>
              <a:tabLst>
                <a:tab pos="4995016" algn="r"/>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339" rtl="0" eaLnBrk="1" fontAlgn="base" latinLnBrk="0" hangingPunct="1">
              <a:lnSpc>
                <a:spcPct val="100000"/>
              </a:lnSpc>
              <a:spcAft>
                <a:spcPct val="0"/>
              </a:spcAft>
              <a:buFont typeface="Arial" pitchFamily="34" charset="0"/>
              <a:tabLst>
                <a:tab pos="4995016" algn="r"/>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5016"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4339"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0764005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0"/>
            <a:ext cx="11662258" cy="5539130"/>
          </a:xfrm>
          <a:prstGeom prst="rect">
            <a:avLst/>
          </a:prstGeom>
        </p:spPr>
        <p:txBody>
          <a:bodyPr vert="horz" lIns="0" tIns="0" rIns="0" bIns="0" rtlCol="0">
            <a:noAutofit/>
          </a:bodyPr>
          <a:lstStyle>
            <a:lvl1pPr marL="0" marR="0" indent="0" algn="l" defTabSz="1174339" rtl="0" eaLnBrk="1" fontAlgn="base" latinLnBrk="0" hangingPunct="1">
              <a:lnSpc>
                <a:spcPct val="100000"/>
              </a:lnSpc>
              <a:spcBef>
                <a:spcPts val="2829"/>
              </a:spcBef>
              <a:spcAft>
                <a:spcPct val="0"/>
              </a:spcAft>
              <a:buClrTx/>
              <a:buSzTx/>
              <a:buFont typeface="Arial" pitchFamily="34" charset="0"/>
              <a:buNone/>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L="224267" marR="0" indent="-222229"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5pPr>
            <a:lvl6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33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4339"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863746533"/>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576085"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5016"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18"/>
          <p:cNvSpPr>
            <a:spLocks noGrp="1"/>
          </p:cNvSpPr>
          <p:nvPr>
            <p:ph type="body" sz="quarter" idx="13"/>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33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6"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4339"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7" name="Content Placeholder 20"/>
          <p:cNvSpPr>
            <a:spLocks noGrp="1"/>
          </p:cNvSpPr>
          <p:nvPr>
            <p:ph sz="quarter" idx="14"/>
          </p:nvPr>
        </p:nvSpPr>
        <p:spPr bwMode="gray">
          <a:xfrm>
            <a:off x="6614175"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5016"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477372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3 Column">
    <p:spTree>
      <p:nvGrpSpPr>
        <p:cNvPr id="1" name=""/>
        <p:cNvGrpSpPr/>
        <p:nvPr/>
      </p:nvGrpSpPr>
      <p:grpSpPr>
        <a:xfrm>
          <a:off x="0" y="0"/>
          <a:ext cx="0" cy="0"/>
          <a:chOff x="0" y="0"/>
          <a:chExt cx="0" cy="0"/>
        </a:xfrm>
      </p:grpSpPr>
      <p:sp>
        <p:nvSpPr>
          <p:cNvPr id="12" name="Text Placeholder 18"/>
          <p:cNvSpPr>
            <a:spLocks noGrp="1"/>
          </p:cNvSpPr>
          <p:nvPr>
            <p:ph type="body" sz="quarter" idx="13"/>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33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7"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Calibri" pitchFamily="34" charset="0"/>
              </a:defRPr>
            </a:lvl1pPr>
          </a:lstStyle>
          <a:p>
            <a:pPr marL="0" marR="0" lvl="0" indent="0" algn="l" defTabSz="117433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8" name="Content Placeholder 20"/>
          <p:cNvSpPr>
            <a:spLocks noGrp="1"/>
          </p:cNvSpPr>
          <p:nvPr>
            <p:ph sz="quarter" idx="11"/>
          </p:nvPr>
        </p:nvSpPr>
        <p:spPr bwMode="gray">
          <a:xfrm>
            <a:off x="576072" y="1585570"/>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5016"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0"/>
          <p:cNvSpPr>
            <a:spLocks noGrp="1"/>
          </p:cNvSpPr>
          <p:nvPr>
            <p:ph sz="quarter" idx="14"/>
          </p:nvPr>
        </p:nvSpPr>
        <p:spPr bwMode="gray">
          <a:xfrm>
            <a:off x="4543874" y="1585570"/>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5016"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0"/>
          <p:cNvSpPr>
            <a:spLocks noGrp="1"/>
          </p:cNvSpPr>
          <p:nvPr>
            <p:ph sz="quarter" idx="15"/>
          </p:nvPr>
        </p:nvSpPr>
        <p:spPr bwMode="gray">
          <a:xfrm>
            <a:off x="8496893" y="1585570"/>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339"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339"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5016"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5816016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576090"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3947" rtl="0" eaLnBrk="1" fontAlgn="base" latinLnBrk="0" hangingPunct="1">
              <a:lnSpc>
                <a:spcPct val="100000"/>
              </a:lnSpc>
              <a:spcAft>
                <a:spcPct val="0"/>
              </a:spcAft>
              <a:buFont typeface="Arial" pitchFamily="34" charset="0"/>
              <a:tabLst>
                <a:tab pos="4993352" algn="r"/>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3947" rtl="0" eaLnBrk="1" fontAlgn="base" latinLnBrk="0" hangingPunct="1">
              <a:lnSpc>
                <a:spcPct val="100000"/>
              </a:lnSpc>
              <a:spcAft>
                <a:spcPct val="0"/>
              </a:spcAft>
              <a:buFont typeface="Arial" pitchFamily="34" charset="0"/>
              <a:tabLst>
                <a:tab pos="4993352" algn="r"/>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3947" rtl="0" eaLnBrk="1" fontAlgn="base" latinLnBrk="0" hangingPunct="1">
              <a:lnSpc>
                <a:spcPct val="100000"/>
              </a:lnSpc>
              <a:spcAft>
                <a:spcPct val="0"/>
              </a:spcAft>
              <a:buFont typeface="Arial" pitchFamily="34" charset="0"/>
              <a:tabLst>
                <a:tab pos="4985199" algn="r"/>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3947" rtl="0" eaLnBrk="1" fontAlgn="base" latinLnBrk="0" hangingPunct="1">
              <a:lnSpc>
                <a:spcPct val="100000"/>
              </a:lnSpc>
              <a:spcAft>
                <a:spcPct val="0"/>
              </a:spcAft>
              <a:buFont typeface="Arial" pitchFamily="34" charset="0"/>
              <a:tabLst>
                <a:tab pos="4993352" algn="r"/>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3947" rtl="0" eaLnBrk="1" fontAlgn="base" latinLnBrk="0" hangingPunct="1">
              <a:lnSpc>
                <a:spcPct val="100000"/>
              </a:lnSpc>
              <a:spcAft>
                <a:spcPct val="0"/>
              </a:spcAft>
              <a:buFont typeface="Arial" pitchFamily="34" charset="0"/>
              <a:tabLst>
                <a:tab pos="4993352" algn="r"/>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3352"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3947"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371749796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576069" y="2123015"/>
            <a:ext cx="11662258" cy="1933863"/>
          </a:xfrm>
          <a:prstGeom prst="rect">
            <a:avLst/>
          </a:prstGeom>
        </p:spPr>
        <p:txBody>
          <a:bodyPr/>
          <a:lstStyle>
            <a:lvl1pPr>
              <a:defRPr>
                <a:latin typeface="Calibri" pitchFamily="34" charset="0"/>
              </a:defRPr>
            </a:lvl1pPr>
            <a:lvl2pPr>
              <a:defRPr lang="en-US" sz="2300" kern="1200" dirty="0" smtClean="0">
                <a:solidFill>
                  <a:schemeClr val="tx2"/>
                </a:solidFill>
                <a:latin typeface="Calibri" pitchFamily="34" charset="0"/>
                <a:ea typeface="+mn-ea"/>
                <a:cs typeface="+mn-cs"/>
              </a:defRPr>
            </a:lvl2pPr>
            <a:lvl3pPr>
              <a:defRPr lang="en-US" sz="2100" kern="1200" dirty="0" smtClean="0">
                <a:solidFill>
                  <a:schemeClr val="tx2"/>
                </a:solidFill>
                <a:latin typeface="Calibri" pitchFamily="34" charset="0"/>
                <a:ea typeface="+mn-ea"/>
                <a:cs typeface="+mn-cs"/>
              </a:defRPr>
            </a:lvl3pPr>
            <a:lvl4pPr>
              <a:defRPr lang="en-US" sz="2100" kern="1200" dirty="0" smtClean="0">
                <a:solidFill>
                  <a:schemeClr val="tx2"/>
                </a:solidFill>
                <a:latin typeface="Calibri" pitchFamily="34" charset="0"/>
                <a:ea typeface="+mn-ea"/>
                <a:cs typeface="+mn-cs"/>
              </a:defRPr>
            </a:lvl4pPr>
            <a:lvl5pPr>
              <a:defRPr lang="en-US" sz="2100" kern="1200" dirty="0">
                <a:solidFill>
                  <a:schemeClr val="tx2"/>
                </a:solidFill>
                <a:latin typeface="Calibri"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bwMode="gray">
          <a:xfrm>
            <a:off x="580073" y="1583268"/>
            <a:ext cx="11662258" cy="353943"/>
          </a:xfrm>
          <a:prstGeom prst="rect">
            <a:avLst/>
          </a:prstGeom>
        </p:spPr>
        <p:txBody>
          <a:bodyPr>
            <a:spAutoFit/>
          </a:bodyPr>
          <a:lstStyle>
            <a:lvl1pPr>
              <a:defRPr sz="2300" b="1">
                <a:latin typeface="Calibri" pitchFamily="34" charset="0"/>
              </a:defRPr>
            </a:lvl1pPr>
          </a:lstStyle>
          <a:p>
            <a:pPr lvl="0"/>
            <a:r>
              <a:rPr lang="en-US" dirty="0" smtClean="0"/>
              <a:t>Click to edit Master text styles</a:t>
            </a:r>
          </a:p>
        </p:txBody>
      </p:sp>
      <p:sp>
        <p:nvSpPr>
          <p:cNvPr id="7" name="Text Placeholder 13"/>
          <p:cNvSpPr>
            <a:spLocks noGrp="1"/>
          </p:cNvSpPr>
          <p:nvPr>
            <p:ph type="body" sz="quarter" idx="15"/>
          </p:nvPr>
        </p:nvSpPr>
        <p:spPr bwMode="gray">
          <a:xfrm>
            <a:off x="576072" y="6965634"/>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chemeClr val="tx2"/>
                </a:solidFill>
                <a:latin typeface="Calibri" pitchFamily="34" charset="0"/>
                <a:ea typeface="+mn-ea"/>
                <a:cs typeface="Calibri"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p:txBody>
      </p:sp>
      <p:sp>
        <p:nvSpPr>
          <p:cNvPr id="13" name="Text Placeholder 18"/>
          <p:cNvSpPr>
            <a:spLocks noGrp="1"/>
          </p:cNvSpPr>
          <p:nvPr>
            <p:ph type="body" sz="quarter" idx="16"/>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33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8"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Calibri" pitchFamily="34" charset="0"/>
              </a:defRPr>
            </a:lvl1pPr>
          </a:lstStyle>
          <a:p>
            <a:pPr marL="0" marR="0" lvl="0" indent="0" algn="l" defTabSz="117433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188375554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576085" y="2123014"/>
            <a:ext cx="5598817" cy="1933863"/>
          </a:xfrm>
          <a:prstGeom prst="rect">
            <a:avLst/>
          </a:prstGeom>
        </p:spPr>
        <p:txBody>
          <a:bodyPr/>
          <a:lstStyle>
            <a:lvl1pPr>
              <a:defRPr>
                <a:latin typeface="Calibri" pitchFamily="34" charset="0"/>
              </a:defRPr>
            </a:lvl1pPr>
            <a:lvl2pPr>
              <a:defRPr lang="en-US" sz="2300" kern="1200" dirty="0" smtClean="0">
                <a:solidFill>
                  <a:schemeClr val="tx2"/>
                </a:solidFill>
                <a:latin typeface="Calibri" pitchFamily="34" charset="0"/>
                <a:ea typeface="+mn-ea"/>
                <a:cs typeface="+mn-cs"/>
              </a:defRPr>
            </a:lvl2pPr>
            <a:lvl3pPr>
              <a:defRPr lang="en-US" sz="2100" kern="1200" dirty="0" smtClean="0">
                <a:solidFill>
                  <a:schemeClr val="tx2"/>
                </a:solidFill>
                <a:latin typeface="Calibri" pitchFamily="34" charset="0"/>
                <a:ea typeface="+mn-ea"/>
                <a:cs typeface="+mn-cs"/>
              </a:defRPr>
            </a:lvl3pPr>
            <a:lvl4pPr>
              <a:defRPr lang="en-US" sz="2100" kern="1200" dirty="0" smtClean="0">
                <a:solidFill>
                  <a:schemeClr val="tx2"/>
                </a:solidFill>
                <a:latin typeface="Calibri" pitchFamily="34" charset="0"/>
                <a:ea typeface="+mn-ea"/>
                <a:cs typeface="+mn-cs"/>
              </a:defRPr>
            </a:lvl4pPr>
            <a:lvl5pPr>
              <a:defRPr lang="en-US" sz="2100" kern="1200" dirty="0">
                <a:solidFill>
                  <a:schemeClr val="tx2"/>
                </a:solidFill>
                <a:latin typeface="Calibri"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bwMode="gray">
          <a:xfrm>
            <a:off x="580073" y="1583268"/>
            <a:ext cx="5594299" cy="353943"/>
          </a:xfrm>
          <a:prstGeom prst="rect">
            <a:avLst/>
          </a:prstGeom>
        </p:spPr>
        <p:txBody>
          <a:bodyPr>
            <a:spAutoFit/>
          </a:bodyPr>
          <a:lstStyle>
            <a:lvl1pPr>
              <a:defRPr sz="2300" b="1">
                <a:latin typeface="Calibri" pitchFamily="34" charset="0"/>
              </a:defRPr>
            </a:lvl1pPr>
          </a:lstStyle>
          <a:p>
            <a:pPr lvl="0"/>
            <a:r>
              <a:rPr lang="en-US" dirty="0" smtClean="0"/>
              <a:t>Click to edit Master text styles</a:t>
            </a:r>
          </a:p>
        </p:txBody>
      </p:sp>
      <p:sp>
        <p:nvSpPr>
          <p:cNvPr id="14" name="Text Placeholder 13"/>
          <p:cNvSpPr>
            <a:spLocks noGrp="1"/>
          </p:cNvSpPr>
          <p:nvPr>
            <p:ph type="body" sz="quarter" idx="15"/>
          </p:nvPr>
        </p:nvSpPr>
        <p:spPr bwMode="gray">
          <a:xfrm>
            <a:off x="576072" y="6965634"/>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rgbClr val="002776"/>
                </a:solidFill>
                <a:latin typeface="Calibri" pitchFamily="34" charset="0"/>
                <a:ea typeface="+mn-ea"/>
                <a:cs typeface="Calibri"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p:txBody>
      </p:sp>
      <p:sp>
        <p:nvSpPr>
          <p:cNvPr id="15" name="Text Placeholder 13"/>
          <p:cNvSpPr>
            <a:spLocks noGrp="1"/>
          </p:cNvSpPr>
          <p:nvPr>
            <p:ph type="body" sz="quarter" idx="16"/>
          </p:nvPr>
        </p:nvSpPr>
        <p:spPr bwMode="gray">
          <a:xfrm>
            <a:off x="6632986" y="6965634"/>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rgbClr val="002776"/>
                </a:solidFill>
                <a:latin typeface="Calibri" pitchFamily="34" charset="0"/>
                <a:ea typeface="+mn-ea"/>
                <a:cs typeface="Calibri"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p:txBody>
      </p:sp>
      <p:sp>
        <p:nvSpPr>
          <p:cNvPr id="17" name="Text Placeholder 18"/>
          <p:cNvSpPr>
            <a:spLocks noGrp="1"/>
          </p:cNvSpPr>
          <p:nvPr>
            <p:ph type="body" sz="quarter" idx="17"/>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339"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10"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Calibri" pitchFamily="34" charset="0"/>
              </a:defRPr>
            </a:lvl1pPr>
          </a:lstStyle>
          <a:p>
            <a:pPr marL="0" marR="0" lvl="0" indent="0" algn="l" defTabSz="117433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11" name="Content Placeholder 20"/>
          <p:cNvSpPr>
            <a:spLocks noGrp="1"/>
          </p:cNvSpPr>
          <p:nvPr>
            <p:ph sz="quarter" idx="18"/>
          </p:nvPr>
        </p:nvSpPr>
        <p:spPr bwMode="gray">
          <a:xfrm>
            <a:off x="6614175" y="2123014"/>
            <a:ext cx="5598817" cy="1933863"/>
          </a:xfrm>
          <a:prstGeom prst="rect">
            <a:avLst/>
          </a:prstGeom>
        </p:spPr>
        <p:txBody>
          <a:bodyPr/>
          <a:lstStyle>
            <a:lvl1pPr>
              <a:defRPr>
                <a:latin typeface="Calibri" pitchFamily="34" charset="0"/>
              </a:defRPr>
            </a:lvl1pPr>
            <a:lvl2pPr>
              <a:defRPr lang="en-US" sz="2300" kern="1200" dirty="0" smtClean="0">
                <a:solidFill>
                  <a:schemeClr val="tx2"/>
                </a:solidFill>
                <a:latin typeface="Calibri" pitchFamily="34" charset="0"/>
                <a:ea typeface="+mn-ea"/>
                <a:cs typeface="+mn-cs"/>
              </a:defRPr>
            </a:lvl2pPr>
            <a:lvl3pPr>
              <a:defRPr lang="en-US" sz="2100" kern="1200" dirty="0" smtClean="0">
                <a:solidFill>
                  <a:schemeClr val="tx2"/>
                </a:solidFill>
                <a:latin typeface="Calibri" pitchFamily="34" charset="0"/>
                <a:ea typeface="+mn-ea"/>
                <a:cs typeface="+mn-cs"/>
              </a:defRPr>
            </a:lvl3pPr>
            <a:lvl4pPr>
              <a:defRPr lang="en-US" sz="2100" kern="1200" dirty="0" smtClean="0">
                <a:solidFill>
                  <a:schemeClr val="tx2"/>
                </a:solidFill>
                <a:latin typeface="Calibri" pitchFamily="34" charset="0"/>
                <a:ea typeface="+mn-ea"/>
                <a:cs typeface="+mn-cs"/>
              </a:defRPr>
            </a:lvl4pPr>
            <a:lvl5pPr>
              <a:defRPr lang="en-US" sz="2100" kern="1200" dirty="0">
                <a:solidFill>
                  <a:schemeClr val="tx2"/>
                </a:solidFill>
                <a:latin typeface="Calibri"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11"/>
          <p:cNvSpPr>
            <a:spLocks noGrp="1"/>
          </p:cNvSpPr>
          <p:nvPr>
            <p:ph type="body" sz="quarter" idx="19"/>
          </p:nvPr>
        </p:nvSpPr>
        <p:spPr bwMode="gray">
          <a:xfrm>
            <a:off x="6618164" y="1583268"/>
            <a:ext cx="5594299" cy="353943"/>
          </a:xfrm>
          <a:prstGeom prst="rect">
            <a:avLst/>
          </a:prstGeom>
        </p:spPr>
        <p:txBody>
          <a:bodyPr>
            <a:spAutoFit/>
          </a:bodyPr>
          <a:lstStyle>
            <a:lvl1pPr>
              <a:defRPr sz="2300" b="1">
                <a:latin typeface="Calibri"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345015582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4339"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01815179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2" cstate="print"/>
          <a:srcRect l="11237" t="27428" r="9845" b="25551"/>
          <a:stretch>
            <a:fillRect/>
          </a:stretch>
        </p:blipFill>
        <p:spPr bwMode="gray">
          <a:xfrm>
            <a:off x="3982735" y="3436420"/>
            <a:ext cx="4831715" cy="895985"/>
          </a:xfrm>
          <a:prstGeom prst="rect">
            <a:avLst/>
          </a:prstGeom>
          <a:noFill/>
          <a:ln w="9525">
            <a:noFill/>
            <a:miter lim="800000"/>
            <a:headEnd/>
            <a:tailEnd/>
          </a:ln>
        </p:spPr>
      </p:pic>
      <p:sp>
        <p:nvSpPr>
          <p:cNvPr id="3" name="Text Placeholder 5"/>
          <p:cNvSpPr>
            <a:spLocks noGrp="1"/>
          </p:cNvSpPr>
          <p:nvPr>
            <p:ph type="body" sz="quarter" idx="10"/>
          </p:nvPr>
        </p:nvSpPr>
        <p:spPr bwMode="gray">
          <a:xfrm>
            <a:off x="563270" y="6186835"/>
            <a:ext cx="6912864" cy="1305763"/>
          </a:xfrm>
        </p:spPr>
        <p:txBody>
          <a:bodyPr anchor="b" anchorCtr="0">
            <a:noAutofit/>
          </a:bodyPr>
          <a:lstStyle>
            <a:lvl1pPr>
              <a:lnSpc>
                <a:spcPts val="1029"/>
              </a:lnSpc>
              <a:spcBef>
                <a:spcPts val="514"/>
              </a:spcBef>
              <a:spcAft>
                <a:spcPts val="514"/>
              </a:spcAft>
              <a:defRPr sz="900"/>
            </a:lvl1pPr>
          </a:lstStyle>
          <a:p>
            <a:pPr lvl="0"/>
            <a:r>
              <a:rPr lang="en-US" smtClean="0"/>
              <a:t>Click to edit Master text styles</a:t>
            </a:r>
          </a:p>
        </p:txBody>
      </p:sp>
    </p:spTree>
    <p:extLst>
      <p:ext uri="{BB962C8B-B14F-4D97-AF65-F5344CB8AC3E}">
        <p14:creationId xmlns:p14="http://schemas.microsoft.com/office/powerpoint/2010/main" val="36464948"/>
      </p:ext>
    </p:extLst>
  </p:cSld>
  <p:clrMapOvr>
    <a:masterClrMapping/>
  </p:clrMapOvr>
  <p:transition/>
  <p:timing>
    <p:tnLst>
      <p:par>
        <p:cTn id="1" dur="indefinite" restart="never" nodeType="tmRoot"/>
      </p:par>
    </p:tnLst>
  </p:timing>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CA" noProof="0" dirty="0"/>
          </a:p>
        </p:txBody>
      </p:sp>
      <p:sp>
        <p:nvSpPr>
          <p:cNvPr id="3" name="Content Placeholder 2"/>
          <p:cNvSpPr>
            <a:spLocks noGrp="1"/>
          </p:cNvSpPr>
          <p:nvPr>
            <p:ph sz="half" idx="1"/>
          </p:nvPr>
        </p:nvSpPr>
        <p:spPr>
          <a:xfrm>
            <a:off x="557848" y="1381765"/>
            <a:ext cx="5769610" cy="1777410"/>
          </a:xfrm>
        </p:spPr>
        <p:txBody>
          <a:bodyPr/>
          <a:lstStyle>
            <a:lvl1pPr>
              <a:lnSpc>
                <a:spcPct val="100000"/>
              </a:lnSpc>
              <a:spcAft>
                <a:spcPts val="643"/>
              </a:spcAft>
              <a:defRPr sz="2300"/>
            </a:lvl1pPr>
            <a:lvl2pPr>
              <a:lnSpc>
                <a:spcPct val="100000"/>
              </a:lnSpc>
              <a:spcAft>
                <a:spcPts val="643"/>
              </a:spcAft>
              <a:defRPr sz="2300"/>
            </a:lvl2pPr>
            <a:lvl3pPr>
              <a:lnSpc>
                <a:spcPct val="100000"/>
              </a:lnSpc>
              <a:spcAft>
                <a:spcPts val="643"/>
              </a:spcAft>
              <a:defRPr sz="2100"/>
            </a:lvl3pPr>
            <a:lvl4pPr>
              <a:lnSpc>
                <a:spcPct val="100000"/>
              </a:lnSpc>
              <a:spcAft>
                <a:spcPts val="643"/>
              </a:spcAft>
              <a:defRPr sz="2100"/>
            </a:lvl4pPr>
            <a:lvl5pPr>
              <a:lnSpc>
                <a:spcPct val="100000"/>
              </a:lnSpc>
              <a:spcAft>
                <a:spcPts val="643"/>
              </a:spcAft>
              <a:defRPr sz="1300"/>
            </a:lvl5pPr>
            <a:lvl6pPr>
              <a:defRPr sz="2300"/>
            </a:lvl6pPr>
            <a:lvl7pPr>
              <a:defRPr sz="2300"/>
            </a:lvl7pPr>
            <a:lvl8pPr>
              <a:defRPr sz="2300"/>
            </a:lvl8pPr>
            <a:lvl9pPr>
              <a:defRPr sz="23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p:txBody>
      </p:sp>
      <p:sp>
        <p:nvSpPr>
          <p:cNvPr id="4" name="Content Placeholder 3"/>
          <p:cNvSpPr>
            <a:spLocks noGrp="1"/>
          </p:cNvSpPr>
          <p:nvPr>
            <p:ph sz="half" idx="2"/>
          </p:nvPr>
        </p:nvSpPr>
        <p:spPr>
          <a:xfrm>
            <a:off x="6498591" y="1381765"/>
            <a:ext cx="5769610" cy="1777410"/>
          </a:xfrm>
        </p:spPr>
        <p:txBody>
          <a:bodyPr/>
          <a:lstStyle>
            <a:lvl1pPr>
              <a:lnSpc>
                <a:spcPct val="100000"/>
              </a:lnSpc>
              <a:spcAft>
                <a:spcPts val="643"/>
              </a:spcAft>
              <a:defRPr sz="2300"/>
            </a:lvl1pPr>
            <a:lvl2pPr>
              <a:lnSpc>
                <a:spcPct val="100000"/>
              </a:lnSpc>
              <a:spcAft>
                <a:spcPts val="643"/>
              </a:spcAft>
              <a:defRPr sz="2300"/>
            </a:lvl2pPr>
            <a:lvl3pPr>
              <a:lnSpc>
                <a:spcPct val="100000"/>
              </a:lnSpc>
              <a:spcAft>
                <a:spcPts val="643"/>
              </a:spcAft>
              <a:defRPr sz="2100"/>
            </a:lvl3pPr>
            <a:lvl4pPr>
              <a:lnSpc>
                <a:spcPct val="100000"/>
              </a:lnSpc>
              <a:spcAft>
                <a:spcPts val="643"/>
              </a:spcAft>
              <a:defRPr sz="2100"/>
            </a:lvl4pPr>
            <a:lvl5pPr>
              <a:lnSpc>
                <a:spcPct val="100000"/>
              </a:lnSpc>
              <a:spcAft>
                <a:spcPts val="643"/>
              </a:spcAft>
              <a:defRPr sz="1300"/>
            </a:lvl5pPr>
            <a:lvl6pPr>
              <a:defRPr sz="2300"/>
            </a:lvl6pPr>
            <a:lvl7pPr>
              <a:defRPr sz="2300"/>
            </a:lvl7pPr>
            <a:lvl8pPr>
              <a:defRPr sz="2300"/>
            </a:lvl8pPr>
            <a:lvl9pPr>
              <a:defRPr sz="23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Rectangle 27"/>
          <p:cNvSpPr>
            <a:spLocks noGrp="1" noChangeArrowheads="1"/>
          </p:cNvSpPr>
          <p:nvPr>
            <p:ph type="ftr" sz="quarter" idx="10"/>
          </p:nvPr>
        </p:nvSpPr>
        <p:spPr>
          <a:xfrm>
            <a:off x="1066800" y="7437755"/>
            <a:ext cx="7307580" cy="174520"/>
          </a:xfrm>
          <a:prstGeom prst="rect">
            <a:avLst/>
          </a:prstGeom>
        </p:spPr>
        <p:txBody>
          <a:bodyPr lIns="117436" tIns="58718" rIns="117436" bIns="58718"/>
          <a:lstStyle>
            <a:lvl1pPr>
              <a:defRPr>
                <a:latin typeface="Calibri" pitchFamily="34" charset="0"/>
                <a:cs typeface="Calibri" pitchFamily="34" charset="0"/>
              </a:defRPr>
            </a:lvl1pPr>
          </a:lstStyle>
          <a:p>
            <a:pPr>
              <a:defRPr/>
            </a:pPr>
            <a:r>
              <a:rPr lang="en-CA" sz="1400" dirty="0" smtClean="0">
                <a:solidFill>
                  <a:srgbClr val="002776"/>
                </a:solidFill>
              </a:rPr>
              <a:t>Enterprise Risk Services | Global Capabilities</a:t>
            </a:r>
            <a:endParaRPr lang="en-CA" sz="1400" dirty="0">
              <a:solidFill>
                <a:srgbClr val="002776"/>
              </a:solidFill>
            </a:endParaRPr>
          </a:p>
        </p:txBody>
      </p:sp>
      <p:sp>
        <p:nvSpPr>
          <p:cNvPr id="6" name="Rectangle 28"/>
          <p:cNvSpPr>
            <a:spLocks noGrp="1" noChangeArrowheads="1"/>
          </p:cNvSpPr>
          <p:nvPr>
            <p:ph type="sldNum" sz="quarter" idx="11"/>
          </p:nvPr>
        </p:nvSpPr>
        <p:spPr>
          <a:xfrm>
            <a:off x="542290" y="7437755"/>
            <a:ext cx="524510" cy="174520"/>
          </a:xfrm>
          <a:prstGeom prst="rect">
            <a:avLst/>
          </a:prstGeom>
        </p:spPr>
        <p:txBody>
          <a:bodyPr lIns="117436" tIns="58718" rIns="117436" bIns="58718"/>
          <a:lstStyle>
            <a:lvl1pPr>
              <a:defRPr>
                <a:latin typeface="Calibri" pitchFamily="34" charset="0"/>
                <a:cs typeface="Calibri" pitchFamily="34" charset="0"/>
              </a:defRPr>
            </a:lvl1pPr>
          </a:lstStyle>
          <a:p>
            <a:pPr>
              <a:defRPr/>
            </a:pPr>
            <a:fld id="{B5CACD99-FE1E-4A5E-93E4-4C96A13F04F0}" type="slidenum">
              <a:rPr lang="en-CA" sz="1400" smtClean="0">
                <a:solidFill>
                  <a:srgbClr val="002776"/>
                </a:solidFill>
              </a:rPr>
              <a:pPr>
                <a:defRPr/>
              </a:pPr>
              <a:t>‹#›</a:t>
            </a:fld>
            <a:endParaRPr lang="en-CA" sz="1400" dirty="0">
              <a:solidFill>
                <a:srgbClr val="002776"/>
              </a:solidFill>
            </a:endParaRPr>
          </a:p>
        </p:txBody>
      </p:sp>
    </p:spTree>
    <p:extLst>
      <p:ext uri="{BB962C8B-B14F-4D97-AF65-F5344CB8AC3E}">
        <p14:creationId xmlns:p14="http://schemas.microsoft.com/office/powerpoint/2010/main" val="3206429926"/>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3" name="Rectangle 5"/>
          <p:cNvSpPr>
            <a:spLocks noChangeArrowheads="1"/>
          </p:cNvSpPr>
          <p:nvPr/>
        </p:nvSpPr>
        <p:spPr bwMode="auto">
          <a:xfrm>
            <a:off x="8957281" y="7416874"/>
            <a:ext cx="3238278" cy="179350"/>
          </a:xfrm>
          <a:prstGeom prst="rect">
            <a:avLst/>
          </a:prstGeom>
          <a:noFill/>
          <a:ln w="25400" algn="ctr">
            <a:noFill/>
            <a:miter lim="800000"/>
            <a:headEnd/>
            <a:tailEnd/>
          </a:ln>
        </p:spPr>
        <p:txBody>
          <a:bodyPr lIns="0" tIns="0" rIns="0" bIns="0"/>
          <a:lstStyle/>
          <a:p>
            <a:pPr algn="r" defTabSz="1016131">
              <a:lnSpc>
                <a:spcPts val="1200"/>
              </a:lnSpc>
              <a:spcBef>
                <a:spcPct val="0"/>
              </a:spcBef>
            </a:pPr>
            <a:r>
              <a:rPr lang="en-US" sz="800" b="0" dirty="0">
                <a:solidFill>
                  <a:srgbClr val="FFFFFF"/>
                </a:solidFill>
                <a:latin typeface="Arial" charset="0"/>
                <a:cs typeface="Arial" charset="0"/>
              </a:rPr>
              <a:t>© </a:t>
            </a:r>
            <a:r>
              <a:rPr lang="en-US" sz="800" b="0" dirty="0" smtClean="0">
                <a:solidFill>
                  <a:srgbClr val="FFFFFF"/>
                </a:solidFill>
                <a:latin typeface="Arial" charset="0"/>
                <a:cs typeface="Arial" charset="0"/>
              </a:rPr>
              <a:t>2012 </a:t>
            </a:r>
            <a:r>
              <a:rPr lang="en-US" sz="800" b="0" dirty="0">
                <a:solidFill>
                  <a:srgbClr val="FFFFFF"/>
                </a:solidFill>
                <a:latin typeface="Arial" charset="0"/>
                <a:cs typeface="Arial" charset="0"/>
              </a:rPr>
              <a:t>Deloitte Touche Tohmatsu</a:t>
            </a:r>
          </a:p>
        </p:txBody>
      </p:sp>
      <p:sp>
        <p:nvSpPr>
          <p:cNvPr id="148482" name="Title Placeholder 1"/>
          <p:cNvSpPr>
            <a:spLocks noGrp="1"/>
          </p:cNvSpPr>
          <p:nvPr>
            <p:ph type="ctrTitle"/>
          </p:nvPr>
        </p:nvSpPr>
        <p:spPr>
          <a:xfrm>
            <a:off x="1599950" y="3026746"/>
            <a:ext cx="8557294" cy="1279264"/>
          </a:xfrm>
        </p:spPr>
        <p:txBody>
          <a:bodyPr/>
          <a:lstStyle>
            <a:lvl1pPr>
              <a:lnSpc>
                <a:spcPts val="5197"/>
              </a:lnSpc>
              <a:defRPr sz="5100" b="0">
                <a:solidFill>
                  <a:schemeClr val="bg2"/>
                </a:solidFill>
                <a:latin typeface="Times New Roman" pitchFamily="18" charset="0"/>
              </a:defRPr>
            </a:lvl1pPr>
          </a:lstStyle>
          <a:p>
            <a:r>
              <a:rPr lang="en-US"/>
              <a:t>Click to edit </a:t>
            </a:r>
            <a:br>
              <a:rPr lang="en-US"/>
            </a:br>
            <a:r>
              <a:rPr lang="en-US"/>
              <a:t>Master title style</a:t>
            </a:r>
          </a:p>
        </p:txBody>
      </p:sp>
      <p:sp>
        <p:nvSpPr>
          <p:cNvPr id="4" name="Slide Number Placeholder 9"/>
          <p:cNvSpPr>
            <a:spLocks noGrp="1"/>
          </p:cNvSpPr>
          <p:nvPr>
            <p:ph type="sldNum" sz="quarter" idx="10"/>
          </p:nvPr>
        </p:nvSpPr>
        <p:spPr>
          <a:xfrm>
            <a:off x="581815" y="7404175"/>
            <a:ext cx="395947" cy="179350"/>
          </a:xfrm>
        </p:spPr>
        <p:txBody>
          <a:bodyPr/>
          <a:lstStyle>
            <a:lvl1pPr>
              <a:lnSpc>
                <a:spcPts val="1337"/>
              </a:lnSpc>
              <a:defRPr>
                <a:solidFill>
                  <a:schemeClr val="bg2"/>
                </a:solidFill>
              </a:defRPr>
            </a:lvl1pPr>
          </a:lstStyle>
          <a:p>
            <a:pPr>
              <a:defRPr/>
            </a:pPr>
            <a:fld id="{9EFAF823-4EA7-4B3D-ADD2-4D1E541B080C}"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608438742"/>
      </p:ext>
    </p:extLst>
  </p:cSld>
  <p:clrMapOvr>
    <a:masterClrMapping/>
  </p:clrMapOvr>
  <p:timing>
    <p:tnLst>
      <p:par>
        <p:cTn id="1" dur="indefinite" restart="never" nodeType="tmRoot"/>
      </p:par>
    </p:tnLst>
  </p:timing>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Slide Number Placeholder 9"/>
          <p:cNvSpPr>
            <a:spLocks noGrp="1"/>
          </p:cNvSpPr>
          <p:nvPr>
            <p:ph type="sldNum" sz="quarter" idx="10"/>
          </p:nvPr>
        </p:nvSpPr>
        <p:spPr/>
        <p:txBody>
          <a:bodyPr/>
          <a:lstStyle>
            <a:lvl1pPr>
              <a:defRPr/>
            </a:lvl1pPr>
          </a:lstStyle>
          <a:p>
            <a:pPr>
              <a:defRPr/>
            </a:pPr>
            <a:fld id="{75511DFA-D285-4A6C-BD82-E2D69CB7BA42}"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54601564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2089" y="4994857"/>
            <a:ext cx="10880450" cy="1542735"/>
          </a:xfrm>
        </p:spPr>
        <p:txBody>
          <a:bodyPr/>
          <a:lstStyle>
            <a:lvl1pPr algn="l">
              <a:defRPr sz="4000" b="1" cap="all"/>
            </a:lvl1pPr>
          </a:lstStyle>
          <a:p>
            <a:r>
              <a:rPr lang="en-US" smtClean="0"/>
              <a:t>Click to edit Master title style</a:t>
            </a:r>
            <a:endParaRPr lang="nl-NL"/>
          </a:p>
        </p:txBody>
      </p:sp>
      <p:sp>
        <p:nvSpPr>
          <p:cNvPr id="3" name="Text Placeholder 2"/>
          <p:cNvSpPr>
            <a:spLocks noGrp="1"/>
          </p:cNvSpPr>
          <p:nvPr>
            <p:ph type="body" idx="1"/>
          </p:nvPr>
        </p:nvSpPr>
        <p:spPr>
          <a:xfrm>
            <a:off x="1012089" y="3294989"/>
            <a:ext cx="10880450" cy="1699865"/>
          </a:xfrm>
        </p:spPr>
        <p:txBody>
          <a:bodyPr anchor="b"/>
          <a:lstStyle>
            <a:lvl1pPr marL="0" indent="0">
              <a:buNone/>
              <a:defRPr sz="2100"/>
            </a:lvl1pPr>
            <a:lvl2pPr marL="456471" indent="0">
              <a:buNone/>
              <a:defRPr sz="1800"/>
            </a:lvl2pPr>
            <a:lvl3pPr marL="912946" indent="0">
              <a:buNone/>
              <a:defRPr sz="1500"/>
            </a:lvl3pPr>
            <a:lvl4pPr marL="1369413" indent="0">
              <a:buNone/>
              <a:defRPr sz="1400"/>
            </a:lvl4pPr>
            <a:lvl5pPr marL="1825888" indent="0">
              <a:buNone/>
              <a:defRPr sz="1400"/>
            </a:lvl5pPr>
            <a:lvl6pPr marL="2282364" indent="0">
              <a:buNone/>
              <a:defRPr sz="1400"/>
            </a:lvl6pPr>
            <a:lvl7pPr marL="2738835" indent="0">
              <a:buNone/>
              <a:defRPr sz="1400"/>
            </a:lvl7pPr>
            <a:lvl8pPr marL="3195306" indent="0">
              <a:buNone/>
              <a:defRPr sz="1400"/>
            </a:lvl8pPr>
            <a:lvl9pPr marL="3651787" indent="0">
              <a:buNone/>
              <a:defRPr sz="1400"/>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pPr>
              <a:defRPr/>
            </a:pPr>
            <a:fld id="{0ED236D1-14DB-47BA-87B0-4887FE4B4B53}"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259657872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sz="half" idx="1"/>
          </p:nvPr>
        </p:nvSpPr>
        <p:spPr>
          <a:xfrm>
            <a:off x="567665" y="1349111"/>
            <a:ext cx="5797789" cy="5915403"/>
          </a:xfrm>
        </p:spPr>
        <p:txBody>
          <a:bodyPr/>
          <a:lstStyle>
            <a:lvl1pPr>
              <a:defRPr sz="2800"/>
            </a:lvl1pPr>
            <a:lvl2pPr>
              <a:defRPr sz="2400"/>
            </a:lvl2pPr>
            <a:lvl3pPr>
              <a:defRPr sz="21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Content Placeholder 3"/>
          <p:cNvSpPr>
            <a:spLocks noGrp="1"/>
          </p:cNvSpPr>
          <p:nvPr>
            <p:ph sz="half" idx="2"/>
          </p:nvPr>
        </p:nvSpPr>
        <p:spPr>
          <a:xfrm>
            <a:off x="6559399" y="1349111"/>
            <a:ext cx="5799809" cy="5915403"/>
          </a:xfrm>
        </p:spPr>
        <p:txBody>
          <a:bodyPr/>
          <a:lstStyle>
            <a:lvl1pPr>
              <a:defRPr sz="2800"/>
            </a:lvl1pPr>
            <a:lvl2pPr>
              <a:defRPr sz="2400"/>
            </a:lvl2pPr>
            <a:lvl3pPr>
              <a:defRPr sz="21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Slide Number Placeholder 9"/>
          <p:cNvSpPr>
            <a:spLocks noGrp="1"/>
          </p:cNvSpPr>
          <p:nvPr>
            <p:ph type="sldNum" sz="quarter" idx="10"/>
          </p:nvPr>
        </p:nvSpPr>
        <p:spPr/>
        <p:txBody>
          <a:bodyPr/>
          <a:lstStyle>
            <a:lvl1pPr>
              <a:defRPr/>
            </a:lvl1pPr>
          </a:lstStyle>
          <a:p>
            <a:pPr>
              <a:defRPr/>
            </a:pPr>
            <a:fld id="{87B6A4FA-43F4-4727-B09F-A15DA5D3E924}"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3279104546"/>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385" y="311090"/>
            <a:ext cx="11520832" cy="1295136"/>
          </a:xfrm>
        </p:spPr>
        <p:txBody>
          <a:bodyPr/>
          <a:lstStyle>
            <a:lvl1pPr>
              <a:defRPr/>
            </a:lvl1pPr>
          </a:lstStyle>
          <a:p>
            <a:r>
              <a:rPr lang="en-US" smtClean="0"/>
              <a:t>Click to edit Master title style</a:t>
            </a:r>
            <a:endParaRPr lang="nl-NL"/>
          </a:p>
        </p:txBody>
      </p:sp>
      <p:sp>
        <p:nvSpPr>
          <p:cNvPr id="3" name="Text Placeholder 2"/>
          <p:cNvSpPr>
            <a:spLocks noGrp="1"/>
          </p:cNvSpPr>
          <p:nvPr>
            <p:ph type="body" idx="1"/>
          </p:nvPr>
        </p:nvSpPr>
        <p:spPr>
          <a:xfrm>
            <a:off x="640402" y="1739544"/>
            <a:ext cx="5656379" cy="725340"/>
          </a:xfrm>
        </p:spPr>
        <p:txBody>
          <a:bodyPr anchor="b"/>
          <a:lstStyle>
            <a:lvl1pPr marL="0" indent="0">
              <a:buNone/>
              <a:defRPr sz="2400" b="1"/>
            </a:lvl1pPr>
            <a:lvl2pPr marL="456471" indent="0">
              <a:buNone/>
              <a:defRPr sz="2100" b="1"/>
            </a:lvl2pPr>
            <a:lvl3pPr marL="912946" indent="0">
              <a:buNone/>
              <a:defRPr sz="1800" b="1"/>
            </a:lvl3pPr>
            <a:lvl4pPr marL="1369413" indent="0">
              <a:buNone/>
              <a:defRPr sz="1500" b="1"/>
            </a:lvl4pPr>
            <a:lvl5pPr marL="1825888" indent="0">
              <a:buNone/>
              <a:defRPr sz="1500" b="1"/>
            </a:lvl5pPr>
            <a:lvl6pPr marL="2282364" indent="0">
              <a:buNone/>
              <a:defRPr sz="1500" b="1"/>
            </a:lvl6pPr>
            <a:lvl7pPr marL="2738835" indent="0">
              <a:buNone/>
              <a:defRPr sz="1500" b="1"/>
            </a:lvl7pPr>
            <a:lvl8pPr marL="3195306" indent="0">
              <a:buNone/>
              <a:defRPr sz="1500" b="1"/>
            </a:lvl8pPr>
            <a:lvl9pPr marL="3651787" indent="0">
              <a:buNone/>
              <a:defRPr sz="1500" b="1"/>
            </a:lvl9pPr>
          </a:lstStyle>
          <a:p>
            <a:pPr lvl="0"/>
            <a:r>
              <a:rPr lang="en-US" smtClean="0"/>
              <a:t>Click to edit Master text styles</a:t>
            </a:r>
          </a:p>
        </p:txBody>
      </p:sp>
      <p:sp>
        <p:nvSpPr>
          <p:cNvPr id="4" name="Content Placeholder 3"/>
          <p:cNvSpPr>
            <a:spLocks noGrp="1"/>
          </p:cNvSpPr>
          <p:nvPr>
            <p:ph sz="half" idx="2"/>
          </p:nvPr>
        </p:nvSpPr>
        <p:spPr>
          <a:xfrm>
            <a:off x="640402" y="2464888"/>
            <a:ext cx="5656379" cy="447742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Text Placeholder 4"/>
          <p:cNvSpPr>
            <a:spLocks noGrp="1"/>
          </p:cNvSpPr>
          <p:nvPr>
            <p:ph type="body" sz="quarter" idx="3"/>
          </p:nvPr>
        </p:nvSpPr>
        <p:spPr>
          <a:xfrm>
            <a:off x="6502822" y="1739544"/>
            <a:ext cx="5658400" cy="725340"/>
          </a:xfrm>
        </p:spPr>
        <p:txBody>
          <a:bodyPr anchor="b"/>
          <a:lstStyle>
            <a:lvl1pPr marL="0" indent="0">
              <a:buNone/>
              <a:defRPr sz="2400" b="1"/>
            </a:lvl1pPr>
            <a:lvl2pPr marL="456471" indent="0">
              <a:buNone/>
              <a:defRPr sz="2100" b="1"/>
            </a:lvl2pPr>
            <a:lvl3pPr marL="912946" indent="0">
              <a:buNone/>
              <a:defRPr sz="1800" b="1"/>
            </a:lvl3pPr>
            <a:lvl4pPr marL="1369413" indent="0">
              <a:buNone/>
              <a:defRPr sz="1500" b="1"/>
            </a:lvl4pPr>
            <a:lvl5pPr marL="1825888" indent="0">
              <a:buNone/>
              <a:defRPr sz="1500" b="1"/>
            </a:lvl5pPr>
            <a:lvl6pPr marL="2282364" indent="0">
              <a:buNone/>
              <a:defRPr sz="1500" b="1"/>
            </a:lvl6pPr>
            <a:lvl7pPr marL="2738835" indent="0">
              <a:buNone/>
              <a:defRPr sz="1500" b="1"/>
            </a:lvl7pPr>
            <a:lvl8pPr marL="3195306" indent="0">
              <a:buNone/>
              <a:defRPr sz="1500" b="1"/>
            </a:lvl8pPr>
            <a:lvl9pPr marL="3651787" indent="0">
              <a:buNone/>
              <a:defRPr sz="1500" b="1"/>
            </a:lvl9pPr>
          </a:lstStyle>
          <a:p>
            <a:pPr lvl="0"/>
            <a:r>
              <a:rPr lang="en-US" smtClean="0"/>
              <a:t>Click to edit Master text styles</a:t>
            </a:r>
          </a:p>
        </p:txBody>
      </p:sp>
      <p:sp>
        <p:nvSpPr>
          <p:cNvPr id="6" name="Content Placeholder 5"/>
          <p:cNvSpPr>
            <a:spLocks noGrp="1"/>
          </p:cNvSpPr>
          <p:nvPr>
            <p:ph sz="quarter" idx="4"/>
          </p:nvPr>
        </p:nvSpPr>
        <p:spPr>
          <a:xfrm>
            <a:off x="6502822" y="2464888"/>
            <a:ext cx="5658400" cy="447742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7" name="Slide Number Placeholder 9"/>
          <p:cNvSpPr>
            <a:spLocks noGrp="1"/>
          </p:cNvSpPr>
          <p:nvPr>
            <p:ph type="sldNum" sz="quarter" idx="10"/>
          </p:nvPr>
        </p:nvSpPr>
        <p:spPr/>
        <p:txBody>
          <a:bodyPr/>
          <a:lstStyle>
            <a:lvl1pPr>
              <a:defRPr/>
            </a:lvl1pPr>
          </a:lstStyle>
          <a:p>
            <a:pPr>
              <a:defRPr/>
            </a:pPr>
            <a:fld id="{7A6A23F7-8F41-425F-8468-D4447545169A}"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183338199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0"/>
            <a:ext cx="11662258" cy="5539130"/>
          </a:xfrm>
          <a:prstGeom prst="rect">
            <a:avLst/>
          </a:prstGeom>
        </p:spPr>
        <p:txBody>
          <a:bodyPr vert="horz" lIns="0" tIns="0" rIns="0" bIns="0" rtlCol="0">
            <a:noAutofit/>
          </a:bodyPr>
          <a:lstStyle>
            <a:lvl1pPr marL="0" marR="0" indent="0" algn="l" defTabSz="1173947" rtl="0" eaLnBrk="1" fontAlgn="base" latinLnBrk="0" hangingPunct="1">
              <a:lnSpc>
                <a:spcPct val="100000"/>
              </a:lnSpc>
              <a:spcBef>
                <a:spcPts val="2829"/>
              </a:spcBef>
              <a:spcAft>
                <a:spcPct val="0"/>
              </a:spcAft>
              <a:buClrTx/>
              <a:buSzTx/>
              <a:buFont typeface="Arial" pitchFamily="34" charset="0"/>
              <a:buNone/>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L="224193" marR="0" indent="-222155"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5pPr>
            <a:lvl6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3947"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3947"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409605080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Slide Number Placeholder 9"/>
          <p:cNvSpPr>
            <a:spLocks noGrp="1"/>
          </p:cNvSpPr>
          <p:nvPr>
            <p:ph type="sldNum" sz="quarter" idx="10"/>
          </p:nvPr>
        </p:nvSpPr>
        <p:spPr/>
        <p:txBody>
          <a:bodyPr/>
          <a:lstStyle>
            <a:lvl1pPr>
              <a:defRPr/>
            </a:lvl1pPr>
          </a:lstStyle>
          <a:p>
            <a:pPr>
              <a:defRPr/>
            </a:pPr>
            <a:fld id="{FCE64D0E-C65E-4D1C-B821-0BF9427EEA9C}"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4209589021"/>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9"/>
          <p:cNvSpPr>
            <a:spLocks noGrp="1"/>
          </p:cNvSpPr>
          <p:nvPr>
            <p:ph type="sldNum" sz="quarter" idx="10"/>
          </p:nvPr>
        </p:nvSpPr>
        <p:spPr/>
        <p:txBody>
          <a:bodyPr/>
          <a:lstStyle>
            <a:lvl1pPr>
              <a:defRPr/>
            </a:lvl1pPr>
          </a:lstStyle>
          <a:p>
            <a:pPr>
              <a:defRPr/>
            </a:pPr>
            <a:fld id="{845439F3-4977-4BD5-8C83-2F3F7D4127A9}"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114554064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401" y="309507"/>
            <a:ext cx="4211983" cy="1317356"/>
          </a:xfrm>
        </p:spPr>
        <p:txBody>
          <a:bodyPr anchor="b"/>
          <a:lstStyle>
            <a:lvl1pPr algn="l">
              <a:defRPr sz="2100" b="1"/>
            </a:lvl1pPr>
          </a:lstStyle>
          <a:p>
            <a:r>
              <a:rPr lang="en-US" smtClean="0"/>
              <a:t>Click to edit Master title style</a:t>
            </a:r>
            <a:endParaRPr lang="nl-NL"/>
          </a:p>
        </p:txBody>
      </p:sp>
      <p:sp>
        <p:nvSpPr>
          <p:cNvPr id="3" name="Content Placeholder 2"/>
          <p:cNvSpPr>
            <a:spLocks noGrp="1"/>
          </p:cNvSpPr>
          <p:nvPr>
            <p:ph idx="1"/>
          </p:nvPr>
        </p:nvSpPr>
        <p:spPr>
          <a:xfrm>
            <a:off x="5005902" y="309514"/>
            <a:ext cx="7155320" cy="6632807"/>
          </a:xfrm>
        </p:spPr>
        <p:txBody>
          <a:bodyPr/>
          <a:lstStyle>
            <a:lvl1pPr>
              <a:defRPr sz="3200"/>
            </a:lvl1pPr>
            <a:lvl2pPr>
              <a:defRPr sz="28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Text Placeholder 3"/>
          <p:cNvSpPr>
            <a:spLocks noGrp="1"/>
          </p:cNvSpPr>
          <p:nvPr>
            <p:ph type="body" sz="half" idx="2"/>
          </p:nvPr>
        </p:nvSpPr>
        <p:spPr>
          <a:xfrm>
            <a:off x="640401" y="1626857"/>
            <a:ext cx="4211983" cy="5315451"/>
          </a:xfrm>
        </p:spPr>
        <p:txBody>
          <a:bodyPr/>
          <a:lstStyle>
            <a:lvl1pPr marL="0" indent="0">
              <a:buNone/>
              <a:defRPr sz="1400"/>
            </a:lvl1pPr>
            <a:lvl2pPr marL="456471" indent="0">
              <a:buNone/>
              <a:defRPr sz="1200"/>
            </a:lvl2pPr>
            <a:lvl3pPr marL="912946" indent="0">
              <a:buNone/>
              <a:defRPr sz="1000"/>
            </a:lvl3pPr>
            <a:lvl4pPr marL="1369413" indent="0">
              <a:buNone/>
              <a:defRPr sz="900"/>
            </a:lvl4pPr>
            <a:lvl5pPr marL="1825888" indent="0">
              <a:buNone/>
              <a:defRPr sz="900"/>
            </a:lvl5pPr>
            <a:lvl6pPr marL="2282364" indent="0">
              <a:buNone/>
              <a:defRPr sz="900"/>
            </a:lvl6pPr>
            <a:lvl7pPr marL="2738835" indent="0">
              <a:buNone/>
              <a:defRPr sz="900"/>
            </a:lvl7pPr>
            <a:lvl8pPr marL="3195306" indent="0">
              <a:buNone/>
              <a:defRPr sz="900"/>
            </a:lvl8pPr>
            <a:lvl9pPr marL="3651787" indent="0">
              <a:buNone/>
              <a:defRPr sz="9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4D02061B-93E6-4150-A03F-CB6E38B9CB99}"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17876789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026" y="5440850"/>
            <a:ext cx="7680555" cy="642807"/>
          </a:xfrm>
        </p:spPr>
        <p:txBody>
          <a:bodyPr anchor="b"/>
          <a:lstStyle>
            <a:lvl1pPr algn="l">
              <a:defRPr sz="2100" b="1"/>
            </a:lvl1pPr>
          </a:lstStyle>
          <a:p>
            <a:r>
              <a:rPr lang="en-US" smtClean="0"/>
              <a:t>Click to edit Master title style</a:t>
            </a:r>
            <a:endParaRPr lang="nl-NL"/>
          </a:p>
        </p:txBody>
      </p:sp>
      <p:sp>
        <p:nvSpPr>
          <p:cNvPr id="3" name="Picture Placeholder 2"/>
          <p:cNvSpPr>
            <a:spLocks noGrp="1"/>
          </p:cNvSpPr>
          <p:nvPr>
            <p:ph type="pic" idx="1"/>
          </p:nvPr>
        </p:nvSpPr>
        <p:spPr>
          <a:xfrm>
            <a:off x="2509026" y="695188"/>
            <a:ext cx="7680555" cy="4663122"/>
          </a:xfrm>
        </p:spPr>
        <p:txBody>
          <a:bodyPr/>
          <a:lstStyle>
            <a:lvl1pPr marL="0" indent="0">
              <a:buNone/>
              <a:defRPr sz="3200"/>
            </a:lvl1pPr>
            <a:lvl2pPr marL="456471" indent="0">
              <a:buNone/>
              <a:defRPr sz="2800"/>
            </a:lvl2pPr>
            <a:lvl3pPr marL="912946" indent="0">
              <a:buNone/>
              <a:defRPr sz="2400"/>
            </a:lvl3pPr>
            <a:lvl4pPr marL="1369413" indent="0">
              <a:buNone/>
              <a:defRPr sz="2100"/>
            </a:lvl4pPr>
            <a:lvl5pPr marL="1825888" indent="0">
              <a:buNone/>
              <a:defRPr sz="2100"/>
            </a:lvl5pPr>
            <a:lvl6pPr marL="2282364" indent="0">
              <a:buNone/>
              <a:defRPr sz="2100"/>
            </a:lvl6pPr>
            <a:lvl7pPr marL="2738835" indent="0">
              <a:buNone/>
              <a:defRPr sz="2100"/>
            </a:lvl7pPr>
            <a:lvl8pPr marL="3195306" indent="0">
              <a:buNone/>
              <a:defRPr sz="2100"/>
            </a:lvl8pPr>
            <a:lvl9pPr marL="3651787" indent="0">
              <a:buNone/>
              <a:defRPr sz="2100"/>
            </a:lvl9pPr>
          </a:lstStyle>
          <a:p>
            <a:pPr lvl="0"/>
            <a:endParaRPr lang="nl-NL" noProof="0"/>
          </a:p>
        </p:txBody>
      </p:sp>
      <p:sp>
        <p:nvSpPr>
          <p:cNvPr id="4" name="Text Placeholder 3"/>
          <p:cNvSpPr>
            <a:spLocks noGrp="1"/>
          </p:cNvSpPr>
          <p:nvPr>
            <p:ph type="body" sz="half" idx="2"/>
          </p:nvPr>
        </p:nvSpPr>
        <p:spPr>
          <a:xfrm>
            <a:off x="2509026" y="6083645"/>
            <a:ext cx="7680555" cy="911039"/>
          </a:xfrm>
        </p:spPr>
        <p:txBody>
          <a:bodyPr/>
          <a:lstStyle>
            <a:lvl1pPr marL="0" indent="0">
              <a:buNone/>
              <a:defRPr sz="1400"/>
            </a:lvl1pPr>
            <a:lvl2pPr marL="456471" indent="0">
              <a:buNone/>
              <a:defRPr sz="1200"/>
            </a:lvl2pPr>
            <a:lvl3pPr marL="912946" indent="0">
              <a:buNone/>
              <a:defRPr sz="1000"/>
            </a:lvl3pPr>
            <a:lvl4pPr marL="1369413" indent="0">
              <a:buNone/>
              <a:defRPr sz="900"/>
            </a:lvl4pPr>
            <a:lvl5pPr marL="1825888" indent="0">
              <a:buNone/>
              <a:defRPr sz="900"/>
            </a:lvl5pPr>
            <a:lvl6pPr marL="2282364" indent="0">
              <a:buNone/>
              <a:defRPr sz="900"/>
            </a:lvl6pPr>
            <a:lvl7pPr marL="2738835" indent="0">
              <a:buNone/>
              <a:defRPr sz="900"/>
            </a:lvl7pPr>
            <a:lvl8pPr marL="3195306" indent="0">
              <a:buNone/>
              <a:defRPr sz="900"/>
            </a:lvl8pPr>
            <a:lvl9pPr marL="3651787" indent="0">
              <a:buNone/>
              <a:defRPr sz="9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pPr>
              <a:defRPr/>
            </a:pPr>
            <a:fld id="{34AC75E1-79D3-4664-A946-D0416C8D8C13}"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669619272"/>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Slide Number Placeholder 9"/>
          <p:cNvSpPr>
            <a:spLocks noGrp="1"/>
          </p:cNvSpPr>
          <p:nvPr>
            <p:ph type="sldNum" sz="quarter" idx="10"/>
          </p:nvPr>
        </p:nvSpPr>
        <p:spPr/>
        <p:txBody>
          <a:bodyPr/>
          <a:lstStyle>
            <a:lvl1pPr>
              <a:defRPr/>
            </a:lvl1pPr>
          </a:lstStyle>
          <a:p>
            <a:pPr>
              <a:defRPr/>
            </a:pPr>
            <a:fld id="{65E74EC1-C94B-4A07-9296-702AE78835BC}"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2713491082"/>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5867" y="396796"/>
            <a:ext cx="2947377" cy="6867710"/>
          </a:xfrm>
        </p:spPr>
        <p:txBody>
          <a:bodyPr vert="eaVert"/>
          <a:lstStyle/>
          <a:p>
            <a:r>
              <a:rPr lang="en-US" smtClean="0"/>
              <a:t>Click to edit Master title style</a:t>
            </a:r>
            <a:endParaRPr lang="nl-NL"/>
          </a:p>
        </p:txBody>
      </p:sp>
      <p:sp>
        <p:nvSpPr>
          <p:cNvPr id="3" name="Vertical Text Placeholder 2"/>
          <p:cNvSpPr>
            <a:spLocks noGrp="1"/>
          </p:cNvSpPr>
          <p:nvPr>
            <p:ph type="body" orient="vert" idx="1"/>
          </p:nvPr>
        </p:nvSpPr>
        <p:spPr>
          <a:xfrm>
            <a:off x="567674" y="396796"/>
            <a:ext cx="8654261" cy="68677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Slide Number Placeholder 9"/>
          <p:cNvSpPr>
            <a:spLocks noGrp="1"/>
          </p:cNvSpPr>
          <p:nvPr>
            <p:ph type="sldNum" sz="quarter" idx="10"/>
          </p:nvPr>
        </p:nvSpPr>
        <p:spPr/>
        <p:txBody>
          <a:bodyPr/>
          <a:lstStyle>
            <a:lvl1pPr>
              <a:defRPr/>
            </a:lvl1pPr>
          </a:lstStyle>
          <a:p>
            <a:pPr>
              <a:defRPr/>
            </a:pPr>
            <a:fld id="{BBD3C943-6EA9-4497-9BB1-216B6F31CDDA}"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3490284525"/>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cSld name="1_Title Slide">
    <p:bg>
      <p:bgPr>
        <a:solidFill>
          <a:schemeClr val="bg1"/>
        </a:solidFill>
        <a:effectLst/>
      </p:bgPr>
    </p:bg>
    <p:spTree>
      <p:nvGrpSpPr>
        <p:cNvPr id="1" name=""/>
        <p:cNvGrpSpPr/>
        <p:nvPr/>
      </p:nvGrpSpPr>
      <p:grpSpPr>
        <a:xfrm>
          <a:off x="0" y="0"/>
          <a:ext cx="0" cy="0"/>
          <a:chOff x="0" y="0"/>
          <a:chExt cx="0" cy="0"/>
        </a:xfrm>
      </p:grpSpPr>
      <p:sp>
        <p:nvSpPr>
          <p:cNvPr id="120836" name="Text Placeholder 2"/>
          <p:cNvSpPr>
            <a:spLocks noGrp="1"/>
          </p:cNvSpPr>
          <p:nvPr>
            <p:ph type="subTitle" idx="1"/>
            <p:custDataLst>
              <p:tags r:id="rId1"/>
            </p:custDataLst>
          </p:nvPr>
        </p:nvSpPr>
        <p:spPr>
          <a:xfrm>
            <a:off x="535452" y="6887871"/>
            <a:ext cx="6636146" cy="342530"/>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smtClean="0"/>
              <a:t>Click to edit Master subtitle style</a:t>
            </a:r>
            <a:endParaRPr lang="en-US" noProof="0" dirty="0"/>
          </a:p>
        </p:txBody>
      </p:sp>
      <p:sp>
        <p:nvSpPr>
          <p:cNvPr id="110" name="Title Placeholder 1"/>
          <p:cNvSpPr>
            <a:spLocks noGrp="1"/>
          </p:cNvSpPr>
          <p:nvPr>
            <p:ph type="ctrTitle"/>
            <p:custDataLst>
              <p:tags r:id="rId2"/>
            </p:custDataLst>
          </p:nvPr>
        </p:nvSpPr>
        <p:spPr>
          <a:xfrm>
            <a:off x="1599963" y="3271172"/>
            <a:ext cx="5595773" cy="1279264"/>
          </a:xfrm>
          <a:prstGeom prst="rect">
            <a:avLst/>
          </a:prstGeom>
        </p:spPr>
        <p:txBody>
          <a:bodyPr/>
          <a:lstStyle>
            <a:lvl1pPr marL="0" marR="0" indent="0" defTabSz="1066408" rtl="0" eaLnBrk="0" fontAlgn="base" latinLnBrk="0" hangingPunct="0">
              <a:lnSpc>
                <a:spcPts val="3119"/>
              </a:lnSpc>
              <a:spcBef>
                <a:spcPct val="0"/>
              </a:spcBef>
              <a:spcAft>
                <a:spcPct val="0"/>
              </a:spcAft>
              <a:tabLst/>
              <a:defRPr sz="3100" b="0">
                <a:solidFill>
                  <a:schemeClr val="tx2"/>
                </a:solidFill>
                <a:latin typeface="Times New Roman" pitchFamily="18" charset="0"/>
              </a:defRPr>
            </a:lvl1pPr>
          </a:lstStyle>
          <a:p>
            <a:pPr lvl="0"/>
            <a:r>
              <a:rPr lang="en-US" noProof="0" smtClean="0"/>
              <a:t>Click to edit Master title style</a:t>
            </a:r>
          </a:p>
        </p:txBody>
      </p:sp>
    </p:spTree>
    <p:extLst>
      <p:ext uri="{BB962C8B-B14F-4D97-AF65-F5344CB8AC3E}">
        <p14:creationId xmlns:p14="http://schemas.microsoft.com/office/powerpoint/2010/main" val="189499199"/>
      </p:ext>
    </p:extLst>
  </p:cSld>
  <p:clrMapOvr>
    <a:masterClrMapping/>
  </p:clrMapOvr>
  <p:transition/>
  <p:timing>
    <p:tnLst>
      <p:par>
        <p:cTn id="1" dur="indefinite" restart="never" nodeType="tmRoot"/>
      </p:par>
    </p:tnLst>
  </p:timing>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Title and one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1"/>
          <a:ext cx="204470" cy="179916"/>
        </p:xfrm>
        <a:graphic>
          <a:graphicData uri="http://schemas.openxmlformats.org/presentationml/2006/ole">
            <mc:AlternateContent xmlns:mc="http://schemas.openxmlformats.org/markup-compatibility/2006">
              <mc:Choice xmlns:v="urn:schemas-microsoft-com:vml" Requires="v">
                <p:oleObj spid="_x0000_s3686" name="think-cell Slide" r:id="rId9" imgW="0" imgH="0" progId="">
                  <p:embed/>
                </p:oleObj>
              </mc:Choice>
              <mc:Fallback>
                <p:oleObj name="think-cell Slide" r:id="rId9"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04470" cy="1799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555629" y="340048"/>
            <a:ext cx="11690350" cy="674686"/>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custDataLst>
              <p:tags r:id="rId4"/>
            </p:custDataLst>
          </p:nvPr>
        </p:nvSpPr>
        <p:spPr>
          <a:xfrm>
            <a:off x="555640" y="1273815"/>
            <a:ext cx="11690351" cy="5877878"/>
          </a:xfrm>
          <a:prstGeom prst="rect">
            <a:avLst/>
          </a:prstGeom>
        </p:spPr>
        <p:txBody>
          <a:bodyPr wrap="square" lIns="0" tIns="0" rIns="0" bIns="0"/>
          <a:lstStyle>
            <a:lvl1pPr marL="0" indent="0">
              <a:lnSpc>
                <a:spcPct val="100000"/>
              </a:lnSpc>
              <a:spcBef>
                <a:spcPts val="446"/>
              </a:spcBef>
              <a:spcAft>
                <a:spcPts val="0"/>
              </a:spcAft>
              <a:defRPr/>
            </a:lvl1pPr>
            <a:lvl2pPr marL="200304" indent="-200304">
              <a:lnSpc>
                <a:spcPct val="100000"/>
              </a:lnSpc>
              <a:spcBef>
                <a:spcPts val="446"/>
              </a:spcBef>
              <a:spcAft>
                <a:spcPts val="0"/>
              </a:spcAft>
              <a:defRPr/>
            </a:lvl2pPr>
            <a:lvl3pPr marL="400606" indent="-200304">
              <a:lnSpc>
                <a:spcPct val="100000"/>
              </a:lnSpc>
              <a:spcBef>
                <a:spcPts val="446"/>
              </a:spcBef>
              <a:spcAft>
                <a:spcPts val="0"/>
              </a:spcAft>
              <a:defRPr sz="1300"/>
            </a:lvl3pPr>
            <a:lvl4pPr marL="600913" indent="-200304">
              <a:lnSpc>
                <a:spcPct val="100000"/>
              </a:lnSpc>
              <a:spcBef>
                <a:spcPts val="446"/>
              </a:spcBef>
              <a:spcAft>
                <a:spcPts val="0"/>
              </a:spcAft>
              <a:defRPr sz="1300"/>
            </a:lvl4pPr>
            <a:lvl5pPr marL="801217">
              <a:lnSpc>
                <a:spcPct val="100000"/>
              </a:lnSpc>
              <a:spcBef>
                <a:spcPts val="446"/>
              </a:spcBef>
              <a:spcAft>
                <a:spcPts val="0"/>
              </a:spcAft>
              <a:defRPr sz="1300"/>
            </a:lvl5pPr>
            <a:lvl6pPr marL="1001523" indent="-200304">
              <a:lnSpc>
                <a:spcPct val="100000"/>
              </a:lnSpc>
              <a:spcBef>
                <a:spcPts val="446"/>
              </a:spcBef>
              <a:spcAft>
                <a:spcPts val="0"/>
              </a:spcAft>
              <a:defRPr sz="1300" baseline="0">
                <a:solidFill>
                  <a:schemeClr val="tx1">
                    <a:lumMod val="60000"/>
                    <a:lumOff val="40000"/>
                  </a:schemeClr>
                </a:solidFill>
              </a:defRPr>
            </a:lvl6pPr>
            <a:lvl7pPr marL="1201829" indent="-200304">
              <a:lnSpc>
                <a:spcPct val="100000"/>
              </a:lnSpc>
              <a:spcBef>
                <a:spcPts val="446"/>
              </a:spcBef>
              <a:spcAft>
                <a:spcPts val="0"/>
              </a:spcAft>
              <a:defRPr sz="1300">
                <a:solidFill>
                  <a:schemeClr val="tx1">
                    <a:lumMod val="60000"/>
                    <a:lumOff val="40000"/>
                  </a:schemeClr>
                </a:solidFill>
              </a:defRPr>
            </a:lvl7pPr>
            <a:lvl8pPr marL="1402136" indent="-200304">
              <a:lnSpc>
                <a:spcPct val="100000"/>
              </a:lnSpc>
              <a:spcBef>
                <a:spcPts val="446"/>
              </a:spcBef>
              <a:spcAft>
                <a:spcPts val="0"/>
              </a:spcAft>
              <a:defRPr sz="1300">
                <a:solidFill>
                  <a:schemeClr val="tx1">
                    <a:lumMod val="60000"/>
                    <a:lumOff val="40000"/>
                  </a:schemeClr>
                </a:solidFill>
              </a:defRPr>
            </a:lvl8pPr>
            <a:lvl9pPr marL="1602439" indent="-200304">
              <a:lnSpc>
                <a:spcPct val="100000"/>
              </a:lnSpc>
              <a:spcBef>
                <a:spcPts val="446"/>
              </a:spcBef>
              <a:spcAft>
                <a:spcPts val="0"/>
              </a:spcAft>
              <a:defRPr sz="1300">
                <a:solidFill>
                  <a:schemeClr val="tx1">
                    <a:lumMod val="60000"/>
                    <a:lumOff val="40000"/>
                  </a:schemeClr>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Slide Number Placeholder 3"/>
          <p:cNvSpPr>
            <a:spLocks noGrp="1"/>
          </p:cNvSpPr>
          <p:nvPr>
            <p:ph type="sldNum" sz="quarter" idx="13"/>
            <p:custDataLst>
              <p:tags r:id="rId5"/>
            </p:custDataLst>
          </p:nvPr>
        </p:nvSpPr>
        <p:spPr/>
        <p:txBody>
          <a:bodyPr/>
          <a:lstStyle>
            <a:lvl1pPr>
              <a:defRPr/>
            </a:lvl1pPr>
          </a:lstStyle>
          <a:p>
            <a:fld id="{07DDA470-64EC-4838-8513-FA93D4181BA0}" type="slidenum">
              <a:rPr lang="en-US">
                <a:solidFill>
                  <a:srgbClr val="002776"/>
                </a:solidFill>
              </a:rPr>
              <a:pPr/>
              <a:t>‹#›</a:t>
            </a:fld>
            <a:endParaRPr lang="en-US" dirty="0">
              <a:solidFill>
                <a:srgbClr val="002776"/>
              </a:solidFill>
            </a:endParaRPr>
          </a:p>
        </p:txBody>
      </p:sp>
      <p:sp>
        <p:nvSpPr>
          <p:cNvPr id="9" name="Footer Placeholder 4"/>
          <p:cNvSpPr>
            <a:spLocks noGrp="1"/>
          </p:cNvSpPr>
          <p:nvPr>
            <p:ph type="ftr" sz="quarter" idx="14"/>
            <p:custDataLst>
              <p:tags r:id="rId6"/>
            </p:custDataLst>
          </p:nvPr>
        </p:nvSpPr>
        <p:spPr>
          <a:xfrm>
            <a:off x="4373884" y="7203867"/>
            <a:ext cx="4053840" cy="413808"/>
          </a:xfrm>
          <a:prstGeom prst="rect">
            <a:avLst/>
          </a:prstGeom>
        </p:spPr>
        <p:txBody>
          <a:bodyPr lIns="101754" tIns="50879" rIns="101754" bIns="50879"/>
          <a:lstStyle>
            <a:lvl1pPr>
              <a:defRPr/>
            </a:lvl1pPr>
          </a:lstStyle>
          <a:p>
            <a:pPr algn="l">
              <a:spcBef>
                <a:spcPct val="0"/>
              </a:spcBef>
            </a:pPr>
            <a:endParaRPr lang="en-US" sz="2100" b="0" dirty="0">
              <a:solidFill>
                <a:srgbClr val="000000"/>
              </a:solidFill>
              <a:latin typeface="Arial" charset="0"/>
              <a:cs typeface="Arial" charset="0"/>
            </a:endParaRPr>
          </a:p>
        </p:txBody>
      </p:sp>
      <p:sp>
        <p:nvSpPr>
          <p:cNvPr id="10" name="Rectangle 9"/>
          <p:cNvSpPr>
            <a:spLocks noChangeArrowheads="1"/>
          </p:cNvSpPr>
          <p:nvPr userDrawn="1">
            <p:custDataLst>
              <p:tags r:id="rId7"/>
            </p:custDataLst>
          </p:nvPr>
        </p:nvSpPr>
        <p:spPr bwMode="auto">
          <a:xfrm>
            <a:off x="10513310" y="7428760"/>
            <a:ext cx="1681550" cy="166712"/>
          </a:xfrm>
          <a:prstGeom prst="rect">
            <a:avLst/>
          </a:prstGeom>
          <a:noFill/>
          <a:ln w="25400" algn="ctr">
            <a:noFill/>
            <a:miter lim="800000"/>
            <a:headEnd/>
            <a:tailEnd/>
          </a:ln>
        </p:spPr>
        <p:txBody>
          <a:bodyPr wrap="none" lIns="0" tIns="0" rIns="0" bIns="0">
            <a:spAutoFit/>
          </a:bodyPr>
          <a:lstStyle/>
          <a:p>
            <a:pPr algn="r" defTabSz="1066065">
              <a:lnSpc>
                <a:spcPts val="1257"/>
              </a:lnSpc>
              <a:spcBef>
                <a:spcPct val="0"/>
              </a:spcBef>
              <a:defRPr/>
            </a:pPr>
            <a:r>
              <a:rPr lang="en-US" sz="900" b="0" dirty="0" smtClean="0">
                <a:solidFill>
                  <a:srgbClr val="002776"/>
                </a:solidFill>
                <a:latin typeface="Arial" charset="0"/>
                <a:cs typeface="Arial" charset="0"/>
              </a:rPr>
              <a:t>© 2012 Deloitte The Netherlands</a:t>
            </a:r>
          </a:p>
        </p:txBody>
      </p:sp>
    </p:spTree>
    <p:extLst>
      <p:ext uri="{BB962C8B-B14F-4D97-AF65-F5344CB8AC3E}">
        <p14:creationId xmlns:p14="http://schemas.microsoft.com/office/powerpoint/2010/main" val="4275266689"/>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576085" y="1585571"/>
            <a:ext cx="5598817" cy="5533948"/>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017876" rtl="0" eaLnBrk="1" fontAlgn="base" latinLnBrk="0" hangingPunct="1">
              <a:lnSpc>
                <a:spcPct val="100000"/>
              </a:lnSpc>
              <a:spcAft>
                <a:spcPct val="0"/>
              </a:spcAft>
              <a:buFont typeface="Arial" pitchFamily="34" charset="0"/>
              <a:tabLst/>
              <a:defRPr kumimoji="0" lang="en-US" sz="2200" b="0" i="0" u="none" strike="noStrike" kern="1200" cap="none" normalizeH="0" baseline="0" dirty="0" smtClean="0">
                <a:ln>
                  <a:noFill/>
                </a:ln>
                <a:solidFill>
                  <a:schemeClr val="tx2"/>
                </a:solidFill>
                <a:effectLst/>
                <a:latin typeface="+mn-lt"/>
                <a:ea typeface="+mn-ea"/>
                <a:cs typeface="Arial" pitchFamily="34" charset="0"/>
              </a:defRPr>
            </a:lvl1pPr>
            <a:lvl2pPr marR="0" algn="l" defTabSz="1017876" rtl="0" eaLnBrk="1" fontAlgn="base" latinLnBrk="0" hangingPunct="1">
              <a:lnSpc>
                <a:spcPct val="100000"/>
              </a:lnSpc>
              <a:spcAft>
                <a:spcPct val="0"/>
              </a:spcAft>
              <a:buFont typeface="Arial" pitchFamily="34" charset="0"/>
              <a:tabLst/>
              <a:defRPr kumimoji="0" lang="en-US" sz="2200" b="0" i="0" u="none" strike="noStrike" kern="1200" cap="none" normalizeH="0" baseline="0" dirty="0" smtClean="0">
                <a:ln>
                  <a:noFill/>
                </a:ln>
                <a:solidFill>
                  <a:schemeClr val="tx2"/>
                </a:solidFill>
                <a:effectLst/>
                <a:latin typeface="+mn-lt"/>
                <a:ea typeface="+mn-ea"/>
                <a:cs typeface="Arial" pitchFamily="34" charset="0"/>
              </a:defRPr>
            </a:lvl2pPr>
            <a:lvl3pPr marR="0" algn="l" defTabSz="1017876"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3pPr>
            <a:lvl4pPr marR="0" algn="l" defTabSz="1017876"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4pPr>
            <a:lvl5pPr marR="0" algn="l" defTabSz="1017876"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mn-lt"/>
                <a:ea typeface="+mn-ea"/>
                <a:cs typeface="Arial" pitchFamily="34" charset="0"/>
              </a:defRPr>
            </a:lvl5pPr>
            <a:lvl6pPr>
              <a:tabLst>
                <a:tab pos="4329507"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10"/>
          <p:cNvSpPr>
            <a:spLocks noGrp="1"/>
          </p:cNvSpPr>
          <p:nvPr>
            <p:ph type="title"/>
          </p:nvPr>
        </p:nvSpPr>
        <p:spPr bwMode="gray">
          <a:xfrm>
            <a:off x="580074" y="510324"/>
            <a:ext cx="11662258" cy="332399"/>
          </a:xfrm>
          <a:prstGeom prst="rect">
            <a:avLst/>
          </a:prstGeom>
        </p:spPr>
        <p:txBody>
          <a:bodyPr lIns="0" tIns="0" rIns="0" bIns="0">
            <a:spAutoFit/>
          </a:bodyPr>
          <a:lstStyle/>
          <a:p>
            <a:pPr marL="0" marR="0" lvl="0" indent="0" algn="l" defTabSz="1017876"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5" name="Content Placeholder 20"/>
          <p:cNvSpPr>
            <a:spLocks noGrp="1"/>
          </p:cNvSpPr>
          <p:nvPr>
            <p:ph sz="quarter" idx="12"/>
          </p:nvPr>
        </p:nvSpPr>
        <p:spPr bwMode="gray">
          <a:xfrm>
            <a:off x="6614175" y="1585571"/>
            <a:ext cx="5598817" cy="5533948"/>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017876" rtl="0" eaLnBrk="1" fontAlgn="base" latinLnBrk="0" hangingPunct="1">
              <a:lnSpc>
                <a:spcPct val="100000"/>
              </a:lnSpc>
              <a:spcAft>
                <a:spcPct val="0"/>
              </a:spcAft>
              <a:buFont typeface="Arial" pitchFamily="34" charset="0"/>
              <a:tabLst/>
              <a:defRPr kumimoji="0" lang="en-US" sz="2200" b="0" i="0" u="none" strike="noStrike" kern="1200" cap="none" normalizeH="0" baseline="0" dirty="0" smtClean="0">
                <a:ln>
                  <a:noFill/>
                </a:ln>
                <a:solidFill>
                  <a:schemeClr val="tx2"/>
                </a:solidFill>
                <a:effectLst/>
                <a:latin typeface="+mn-lt"/>
                <a:ea typeface="+mn-ea"/>
                <a:cs typeface="Arial" pitchFamily="34" charset="0"/>
              </a:defRPr>
            </a:lvl1pPr>
            <a:lvl2pPr marR="0" algn="l" defTabSz="1017876" rtl="0" eaLnBrk="1" fontAlgn="base" latinLnBrk="0" hangingPunct="1">
              <a:lnSpc>
                <a:spcPct val="100000"/>
              </a:lnSpc>
              <a:spcAft>
                <a:spcPct val="0"/>
              </a:spcAft>
              <a:buFont typeface="Arial" pitchFamily="34" charset="0"/>
              <a:tabLst/>
              <a:defRPr kumimoji="0" lang="en-US" sz="2200" b="0" i="0" u="none" strike="noStrike" kern="1200" cap="none" normalizeH="0" baseline="0" dirty="0" smtClean="0">
                <a:ln>
                  <a:noFill/>
                </a:ln>
                <a:solidFill>
                  <a:schemeClr val="tx2"/>
                </a:solidFill>
                <a:effectLst/>
                <a:latin typeface="+mn-lt"/>
                <a:ea typeface="+mn-ea"/>
                <a:cs typeface="Arial" pitchFamily="34" charset="0"/>
              </a:defRPr>
            </a:lvl2pPr>
            <a:lvl3pPr marR="0" algn="l" defTabSz="1017876"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3pPr>
            <a:lvl4pPr marR="0" algn="l" defTabSz="1017876"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mn-lt"/>
                <a:ea typeface="+mn-ea"/>
                <a:cs typeface="Arial" pitchFamily="34" charset="0"/>
              </a:defRPr>
            </a:lvl4pPr>
            <a:lvl5pPr marR="0" algn="l" defTabSz="1017876"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mn-lt"/>
                <a:ea typeface="+mn-ea"/>
                <a:cs typeface="Arial" pitchFamily="34" charset="0"/>
              </a:defRPr>
            </a:lvl5pPr>
            <a:lvl6pPr>
              <a:tabLst>
                <a:tab pos="4329507"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764670"/>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600202" y="3365911"/>
            <a:ext cx="5758498" cy="470898"/>
          </a:xfrm>
          <a:prstGeom prst="rect">
            <a:avLst/>
          </a:prstGeom>
        </p:spPr>
        <p:txBody>
          <a:bodyPr anchor="b" anchorCtr="0">
            <a:spAutoFit/>
          </a:bodyPr>
          <a:lstStyle>
            <a:lvl1pPr>
              <a:lnSpc>
                <a:spcPct val="85000"/>
              </a:lnSpc>
              <a:defRPr sz="36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600202" y="4181271"/>
            <a:ext cx="5758498" cy="353943"/>
          </a:xfrm>
          <a:prstGeom prst="rect">
            <a:avLst/>
          </a:prstGeom>
        </p:spPr>
        <p:txBody>
          <a:bodyPr>
            <a:spAutoFit/>
          </a:bodyPr>
          <a:lstStyle>
            <a:lvl1pPr>
              <a:lnSpc>
                <a:spcPct val="100000"/>
              </a:lnSpc>
              <a:defRPr sz="2300" b="1" smtClean="0">
                <a:latin typeface="Calibri" pitchFamily="34" charset="0"/>
              </a:defRPr>
            </a:lvl1pPr>
          </a:lstStyle>
          <a:p>
            <a:r>
              <a:rPr lang="en-US" dirty="0" smtClean="0"/>
              <a:t>Click to edit Master subtitle style</a:t>
            </a:r>
            <a:endParaRPr dirty="0" smtClean="0"/>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566738" y="343642"/>
            <a:ext cx="2291397" cy="349038"/>
          </a:xfrm>
          <a:prstGeom prst="rect">
            <a:avLst/>
          </a:prstGeom>
          <a:noFill/>
        </p:spPr>
      </p:pic>
    </p:spTree>
    <p:extLst>
      <p:ext uri="{BB962C8B-B14F-4D97-AF65-F5344CB8AC3E}">
        <p14:creationId xmlns:p14="http://schemas.microsoft.com/office/powerpoint/2010/main" val="275525069"/>
      </p:ext>
    </p:extLst>
  </p:cSld>
  <p:clrMapOvr>
    <a:masterClrMapping/>
  </p:clrMapOvr>
  <p:transition/>
  <p:timing>
    <p:tnLst>
      <p:par>
        <p:cTn id="1" dur="indefinite" restart="never" nodeType="tmRoot"/>
      </p:par>
    </p:tnLst>
  </p:timing>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576090"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3352"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18"/>
          <p:cNvSpPr>
            <a:spLocks noGrp="1"/>
          </p:cNvSpPr>
          <p:nvPr>
            <p:ph type="body" sz="quarter" idx="13"/>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3947"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6"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3947"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7" name="Content Placeholder 20"/>
          <p:cNvSpPr>
            <a:spLocks noGrp="1"/>
          </p:cNvSpPr>
          <p:nvPr>
            <p:ph sz="quarter" idx="14"/>
          </p:nvPr>
        </p:nvSpPr>
        <p:spPr bwMode="gray">
          <a:xfrm>
            <a:off x="6614176"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3352"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736012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Divider">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576072" y="3501303"/>
            <a:ext cx="6055157" cy="470898"/>
          </a:xfrm>
          <a:prstGeom prst="rect">
            <a:avLst/>
          </a:prstGeom>
        </p:spPr>
        <p:txBody>
          <a:bodyPr>
            <a:spAutoFit/>
          </a:bodyPr>
          <a:lstStyle>
            <a:lvl1pPr>
              <a:lnSpc>
                <a:spcPct val="85000"/>
              </a:lnSpc>
              <a:defRPr sz="3600" b="1" smtClean="0">
                <a:latin typeface="Calibri" pitchFamily="34" charset="0"/>
              </a:defRPr>
            </a:lvl1pPr>
          </a:lstStyle>
          <a:p>
            <a:r>
              <a:rPr lang="en-US" dirty="0" smtClean="0"/>
              <a:t>Click to edit Master title style</a:t>
            </a:r>
          </a:p>
        </p:txBody>
      </p:sp>
      <p:sp>
        <p:nvSpPr>
          <p:cNvPr id="120836" name="Text Placeholder 2"/>
          <p:cNvSpPr>
            <a:spLocks noGrp="1"/>
          </p:cNvSpPr>
          <p:nvPr>
            <p:ph type="subTitle" idx="1"/>
          </p:nvPr>
        </p:nvSpPr>
        <p:spPr bwMode="gray">
          <a:xfrm>
            <a:off x="576072" y="4186733"/>
            <a:ext cx="6055157" cy="400110"/>
          </a:xfrm>
          <a:prstGeom prst="rect">
            <a:avLst/>
          </a:prstGeom>
        </p:spPr>
        <p:txBody>
          <a:bodyPr>
            <a:spAutoFit/>
          </a:bodyPr>
          <a:lstStyle>
            <a:lvl1pPr>
              <a:lnSpc>
                <a:spcPct val="100000"/>
              </a:lnSpc>
              <a:defRPr sz="2600" b="0" smtClean="0">
                <a:latin typeface="Calibri" pitchFamily="34" charset="0"/>
              </a:defRPr>
            </a:lvl1pPr>
          </a:lstStyle>
          <a:p>
            <a:r>
              <a:rPr lang="en-US" dirty="0" smtClean="0"/>
              <a:t>Click to edit Master subtitle style</a:t>
            </a:r>
            <a:endParaRPr dirty="0" smtClean="0"/>
          </a:p>
        </p:txBody>
      </p:sp>
    </p:spTree>
    <p:extLst>
      <p:ext uri="{BB962C8B-B14F-4D97-AF65-F5344CB8AC3E}">
        <p14:creationId xmlns:p14="http://schemas.microsoft.com/office/powerpoint/2010/main" val="1124434823"/>
      </p:ext>
    </p:extLst>
  </p:cSld>
  <p:clrMapOvr>
    <a:masterClrMapping/>
  </p:clrMapOvr>
  <p:transition/>
  <p:timing>
    <p:tnLst>
      <p:par>
        <p:cTn id="1" dur="indefinite" restart="never" nodeType="tmRoot"/>
      </p:par>
    </p:tnLst>
  </p:timing>
  <p:hf hdr="0" dt="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576072" y="3095805"/>
            <a:ext cx="11409871" cy="876394"/>
          </a:xfrm>
          <a:prstGeom prst="rect">
            <a:avLst/>
          </a:prstGeom>
        </p:spPr>
        <p:txBody>
          <a:bodyPr anchor="b" anchorCtr="0">
            <a:spAutoFit/>
          </a:bodyPr>
          <a:lstStyle>
            <a:lvl1pPr>
              <a:lnSpc>
                <a:spcPct val="85000"/>
              </a:lnSpc>
              <a:defRPr sz="6700" b="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auto">
          <a:xfrm>
            <a:off x="576072" y="4186733"/>
            <a:ext cx="6055157" cy="353943"/>
          </a:xfrm>
          <a:prstGeom prst="rect">
            <a:avLst/>
          </a:prstGeom>
        </p:spPr>
        <p:txBody>
          <a:bodyPr>
            <a:spAutoFit/>
          </a:bodyPr>
          <a:lstStyle>
            <a:lvl1pPr>
              <a:lnSpc>
                <a:spcPct val="100000"/>
              </a:lnSpc>
              <a:defRPr sz="2300" b="1" smtClean="0">
                <a:solidFill>
                  <a:schemeClr val="bg1"/>
                </a:solidFill>
                <a:latin typeface="Calibri" pitchFamily="34" charset="0"/>
              </a:defRPr>
            </a:lvl1pPr>
          </a:lstStyle>
          <a:p>
            <a:r>
              <a:rPr lang="en-US" dirty="0" smtClean="0"/>
              <a:t>Click to edit Master subtitle style</a:t>
            </a:r>
            <a:endParaRPr dirty="0" smtClean="0"/>
          </a:p>
        </p:txBody>
      </p:sp>
    </p:spTree>
    <p:extLst>
      <p:ext uri="{BB962C8B-B14F-4D97-AF65-F5344CB8AC3E}">
        <p14:creationId xmlns:p14="http://schemas.microsoft.com/office/powerpoint/2010/main" val="2972754745"/>
      </p:ext>
    </p:extLst>
  </p:cSld>
  <p:clrMapOvr>
    <a:masterClrMapping/>
  </p:clrMapOvr>
  <p:transition/>
  <p:timing>
    <p:tnLst>
      <p:par>
        <p:cTn id="1" dur="indefinite" restart="never" nodeType="tmRoot"/>
      </p:par>
    </p:tnLst>
  </p:timing>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576080"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861" rtl="0" eaLnBrk="1" fontAlgn="base" latinLnBrk="0" hangingPunct="1">
              <a:lnSpc>
                <a:spcPct val="100000"/>
              </a:lnSpc>
              <a:spcAft>
                <a:spcPct val="0"/>
              </a:spcAft>
              <a:buFont typeface="Arial" pitchFamily="34" charset="0"/>
              <a:tabLst>
                <a:tab pos="4997237" algn="r"/>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861" rtl="0" eaLnBrk="1" fontAlgn="base" latinLnBrk="0" hangingPunct="1">
              <a:lnSpc>
                <a:spcPct val="100000"/>
              </a:lnSpc>
              <a:spcAft>
                <a:spcPct val="0"/>
              </a:spcAft>
              <a:buFont typeface="Arial" pitchFamily="34" charset="0"/>
              <a:tabLst>
                <a:tab pos="4997237" algn="r"/>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861" rtl="0" eaLnBrk="1" fontAlgn="base" latinLnBrk="0" hangingPunct="1">
              <a:lnSpc>
                <a:spcPct val="100000"/>
              </a:lnSpc>
              <a:spcAft>
                <a:spcPct val="0"/>
              </a:spcAft>
              <a:buFont typeface="Arial" pitchFamily="34" charset="0"/>
              <a:tabLst>
                <a:tab pos="4989078" algn="r"/>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861" rtl="0" eaLnBrk="1" fontAlgn="base" latinLnBrk="0" hangingPunct="1">
              <a:lnSpc>
                <a:spcPct val="100000"/>
              </a:lnSpc>
              <a:spcAft>
                <a:spcPct val="0"/>
              </a:spcAft>
              <a:buFont typeface="Arial" pitchFamily="34" charset="0"/>
              <a:tabLst>
                <a:tab pos="4997237" algn="r"/>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861" rtl="0" eaLnBrk="1" fontAlgn="base" latinLnBrk="0" hangingPunct="1">
              <a:lnSpc>
                <a:spcPct val="100000"/>
              </a:lnSpc>
              <a:spcAft>
                <a:spcPct val="0"/>
              </a:spcAft>
              <a:buFont typeface="Arial" pitchFamily="34" charset="0"/>
              <a:tabLst>
                <a:tab pos="4997237" algn="r"/>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7237"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4861"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677203195"/>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0"/>
            <a:ext cx="11662258" cy="5539130"/>
          </a:xfrm>
          <a:prstGeom prst="rect">
            <a:avLst/>
          </a:prstGeom>
        </p:spPr>
        <p:txBody>
          <a:bodyPr vert="horz" lIns="0" tIns="0" rIns="0" bIns="0" rtlCol="0">
            <a:noAutofit/>
          </a:bodyPr>
          <a:lstStyle>
            <a:lvl1pPr marL="0" marR="0" indent="0" algn="l" defTabSz="1174861" rtl="0" eaLnBrk="1" fontAlgn="base" latinLnBrk="0" hangingPunct="1">
              <a:lnSpc>
                <a:spcPct val="100000"/>
              </a:lnSpc>
              <a:spcBef>
                <a:spcPts val="2829"/>
              </a:spcBef>
              <a:spcAft>
                <a:spcPct val="0"/>
              </a:spcAft>
              <a:buClrTx/>
              <a:buSzTx/>
              <a:buFont typeface="Arial" pitchFamily="34" charset="0"/>
              <a:buNone/>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L="224366" marR="0" indent="-222328"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5pPr>
            <a:lvl6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861"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4861"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425834242"/>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576080"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7237"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18"/>
          <p:cNvSpPr>
            <a:spLocks noGrp="1"/>
          </p:cNvSpPr>
          <p:nvPr>
            <p:ph type="body" sz="quarter" idx="13"/>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861"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6"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4861"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7" name="Content Placeholder 20"/>
          <p:cNvSpPr>
            <a:spLocks noGrp="1"/>
          </p:cNvSpPr>
          <p:nvPr>
            <p:ph sz="quarter" idx="14"/>
          </p:nvPr>
        </p:nvSpPr>
        <p:spPr bwMode="gray">
          <a:xfrm>
            <a:off x="6614169"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7237"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63228798"/>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2" name="Text Placeholder 18"/>
          <p:cNvSpPr>
            <a:spLocks noGrp="1"/>
          </p:cNvSpPr>
          <p:nvPr>
            <p:ph type="body" sz="quarter" idx="13"/>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861"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7"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Calibri" pitchFamily="34" charset="0"/>
              </a:defRPr>
            </a:lvl1pPr>
          </a:lstStyle>
          <a:p>
            <a:pPr marL="0" marR="0" lvl="0" indent="0" algn="l" defTabSz="1174861"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8" name="Content Placeholder 20"/>
          <p:cNvSpPr>
            <a:spLocks noGrp="1"/>
          </p:cNvSpPr>
          <p:nvPr>
            <p:ph sz="quarter" idx="11"/>
          </p:nvPr>
        </p:nvSpPr>
        <p:spPr bwMode="gray">
          <a:xfrm>
            <a:off x="576072" y="1585570"/>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7237"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0"/>
          <p:cNvSpPr>
            <a:spLocks noGrp="1"/>
          </p:cNvSpPr>
          <p:nvPr>
            <p:ph sz="quarter" idx="14"/>
          </p:nvPr>
        </p:nvSpPr>
        <p:spPr bwMode="gray">
          <a:xfrm>
            <a:off x="4543874" y="1585570"/>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7237"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0"/>
          <p:cNvSpPr>
            <a:spLocks noGrp="1"/>
          </p:cNvSpPr>
          <p:nvPr>
            <p:ph sz="quarter" idx="15"/>
          </p:nvPr>
        </p:nvSpPr>
        <p:spPr bwMode="gray">
          <a:xfrm>
            <a:off x="8496893" y="1585570"/>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7237"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82618165"/>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576069" y="2123015"/>
            <a:ext cx="11662258" cy="1933863"/>
          </a:xfrm>
          <a:prstGeom prst="rect">
            <a:avLst/>
          </a:prstGeom>
        </p:spPr>
        <p:txBody>
          <a:bodyPr/>
          <a:lstStyle>
            <a:lvl1pPr>
              <a:defRPr>
                <a:latin typeface="Calibri" pitchFamily="34" charset="0"/>
              </a:defRPr>
            </a:lvl1pPr>
            <a:lvl2pPr>
              <a:defRPr lang="en-US" sz="2300" kern="1200" dirty="0" smtClean="0">
                <a:solidFill>
                  <a:schemeClr val="tx2"/>
                </a:solidFill>
                <a:latin typeface="Calibri" pitchFamily="34" charset="0"/>
                <a:ea typeface="+mn-ea"/>
                <a:cs typeface="+mn-cs"/>
              </a:defRPr>
            </a:lvl2pPr>
            <a:lvl3pPr>
              <a:defRPr lang="en-US" sz="2100" kern="1200" dirty="0" smtClean="0">
                <a:solidFill>
                  <a:schemeClr val="tx2"/>
                </a:solidFill>
                <a:latin typeface="Calibri" pitchFamily="34" charset="0"/>
                <a:ea typeface="+mn-ea"/>
                <a:cs typeface="+mn-cs"/>
              </a:defRPr>
            </a:lvl3pPr>
            <a:lvl4pPr>
              <a:defRPr lang="en-US" sz="2100" kern="1200" dirty="0" smtClean="0">
                <a:solidFill>
                  <a:schemeClr val="tx2"/>
                </a:solidFill>
                <a:latin typeface="Calibri" pitchFamily="34" charset="0"/>
                <a:ea typeface="+mn-ea"/>
                <a:cs typeface="+mn-cs"/>
              </a:defRPr>
            </a:lvl4pPr>
            <a:lvl5pPr>
              <a:defRPr lang="en-US" sz="2100" kern="1200" dirty="0">
                <a:solidFill>
                  <a:schemeClr val="tx2"/>
                </a:solidFill>
                <a:latin typeface="Calibri"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bwMode="gray">
          <a:xfrm>
            <a:off x="580073" y="1583268"/>
            <a:ext cx="11662258" cy="353943"/>
          </a:xfrm>
          <a:prstGeom prst="rect">
            <a:avLst/>
          </a:prstGeom>
        </p:spPr>
        <p:txBody>
          <a:bodyPr>
            <a:spAutoFit/>
          </a:bodyPr>
          <a:lstStyle>
            <a:lvl1pPr>
              <a:defRPr sz="2300" b="1">
                <a:latin typeface="Calibri" pitchFamily="34" charset="0"/>
              </a:defRPr>
            </a:lvl1pPr>
          </a:lstStyle>
          <a:p>
            <a:pPr lvl="0"/>
            <a:r>
              <a:rPr lang="en-US" dirty="0" smtClean="0"/>
              <a:t>Click to edit Master text styles</a:t>
            </a:r>
          </a:p>
        </p:txBody>
      </p:sp>
      <p:sp>
        <p:nvSpPr>
          <p:cNvPr id="7" name="Text Placeholder 13"/>
          <p:cNvSpPr>
            <a:spLocks noGrp="1"/>
          </p:cNvSpPr>
          <p:nvPr>
            <p:ph type="body" sz="quarter" idx="15"/>
          </p:nvPr>
        </p:nvSpPr>
        <p:spPr bwMode="gray">
          <a:xfrm>
            <a:off x="576072" y="6965634"/>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chemeClr val="tx2"/>
                </a:solidFill>
                <a:latin typeface="Calibri" pitchFamily="34" charset="0"/>
                <a:ea typeface="+mn-ea"/>
                <a:cs typeface="Calibri"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p:txBody>
      </p:sp>
      <p:sp>
        <p:nvSpPr>
          <p:cNvPr id="13" name="Text Placeholder 18"/>
          <p:cNvSpPr>
            <a:spLocks noGrp="1"/>
          </p:cNvSpPr>
          <p:nvPr>
            <p:ph type="body" sz="quarter" idx="16"/>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861"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8"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Calibri" pitchFamily="34" charset="0"/>
              </a:defRPr>
            </a:lvl1pPr>
          </a:lstStyle>
          <a:p>
            <a:pPr marL="0" marR="0" lvl="0" indent="0" algn="l" defTabSz="1174861"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277626036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576080" y="2123014"/>
            <a:ext cx="5598817" cy="1933863"/>
          </a:xfrm>
          <a:prstGeom prst="rect">
            <a:avLst/>
          </a:prstGeom>
        </p:spPr>
        <p:txBody>
          <a:bodyPr/>
          <a:lstStyle>
            <a:lvl1pPr>
              <a:defRPr>
                <a:latin typeface="Calibri" pitchFamily="34" charset="0"/>
              </a:defRPr>
            </a:lvl1pPr>
            <a:lvl2pPr>
              <a:defRPr lang="en-US" sz="2300" kern="1200" dirty="0" smtClean="0">
                <a:solidFill>
                  <a:schemeClr val="tx2"/>
                </a:solidFill>
                <a:latin typeface="Calibri" pitchFamily="34" charset="0"/>
                <a:ea typeface="+mn-ea"/>
                <a:cs typeface="+mn-cs"/>
              </a:defRPr>
            </a:lvl2pPr>
            <a:lvl3pPr>
              <a:defRPr lang="en-US" sz="2100" kern="1200" dirty="0" smtClean="0">
                <a:solidFill>
                  <a:schemeClr val="tx2"/>
                </a:solidFill>
                <a:latin typeface="Calibri" pitchFamily="34" charset="0"/>
                <a:ea typeface="+mn-ea"/>
                <a:cs typeface="+mn-cs"/>
              </a:defRPr>
            </a:lvl3pPr>
            <a:lvl4pPr>
              <a:defRPr lang="en-US" sz="2100" kern="1200" dirty="0" smtClean="0">
                <a:solidFill>
                  <a:schemeClr val="tx2"/>
                </a:solidFill>
                <a:latin typeface="Calibri" pitchFamily="34" charset="0"/>
                <a:ea typeface="+mn-ea"/>
                <a:cs typeface="+mn-cs"/>
              </a:defRPr>
            </a:lvl4pPr>
            <a:lvl5pPr>
              <a:defRPr lang="en-US" sz="2100" kern="1200" dirty="0">
                <a:solidFill>
                  <a:schemeClr val="tx2"/>
                </a:solidFill>
                <a:latin typeface="Calibri"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bwMode="gray">
          <a:xfrm>
            <a:off x="580073" y="1583268"/>
            <a:ext cx="5594299" cy="353943"/>
          </a:xfrm>
          <a:prstGeom prst="rect">
            <a:avLst/>
          </a:prstGeom>
        </p:spPr>
        <p:txBody>
          <a:bodyPr>
            <a:spAutoFit/>
          </a:bodyPr>
          <a:lstStyle>
            <a:lvl1pPr>
              <a:defRPr sz="2300" b="1">
                <a:latin typeface="Calibri" pitchFamily="34" charset="0"/>
              </a:defRPr>
            </a:lvl1pPr>
          </a:lstStyle>
          <a:p>
            <a:pPr lvl="0"/>
            <a:r>
              <a:rPr lang="en-US" dirty="0" smtClean="0"/>
              <a:t>Click to edit Master text styles</a:t>
            </a:r>
          </a:p>
        </p:txBody>
      </p:sp>
      <p:sp>
        <p:nvSpPr>
          <p:cNvPr id="14" name="Text Placeholder 13"/>
          <p:cNvSpPr>
            <a:spLocks noGrp="1"/>
          </p:cNvSpPr>
          <p:nvPr>
            <p:ph type="body" sz="quarter" idx="15"/>
          </p:nvPr>
        </p:nvSpPr>
        <p:spPr bwMode="gray">
          <a:xfrm>
            <a:off x="576072" y="6965634"/>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rgbClr val="002776"/>
                </a:solidFill>
                <a:latin typeface="Calibri" pitchFamily="34" charset="0"/>
                <a:ea typeface="+mn-ea"/>
                <a:cs typeface="Calibri"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p:txBody>
      </p:sp>
      <p:sp>
        <p:nvSpPr>
          <p:cNvPr id="15" name="Text Placeholder 13"/>
          <p:cNvSpPr>
            <a:spLocks noGrp="1"/>
          </p:cNvSpPr>
          <p:nvPr>
            <p:ph type="body" sz="quarter" idx="16"/>
          </p:nvPr>
        </p:nvSpPr>
        <p:spPr bwMode="gray">
          <a:xfrm>
            <a:off x="6632986" y="6965634"/>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rgbClr val="002776"/>
                </a:solidFill>
                <a:latin typeface="Calibri" pitchFamily="34" charset="0"/>
                <a:ea typeface="+mn-ea"/>
                <a:cs typeface="Calibri"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p:txBody>
      </p:sp>
      <p:sp>
        <p:nvSpPr>
          <p:cNvPr id="17" name="Text Placeholder 18"/>
          <p:cNvSpPr>
            <a:spLocks noGrp="1"/>
          </p:cNvSpPr>
          <p:nvPr>
            <p:ph type="body" sz="quarter" idx="17"/>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861"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10"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Calibri" pitchFamily="34" charset="0"/>
              </a:defRPr>
            </a:lvl1pPr>
          </a:lstStyle>
          <a:p>
            <a:pPr marL="0" marR="0" lvl="0" indent="0" algn="l" defTabSz="1174861"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11" name="Content Placeholder 20"/>
          <p:cNvSpPr>
            <a:spLocks noGrp="1"/>
          </p:cNvSpPr>
          <p:nvPr>
            <p:ph sz="quarter" idx="18"/>
          </p:nvPr>
        </p:nvSpPr>
        <p:spPr bwMode="gray">
          <a:xfrm>
            <a:off x="6614169" y="2123014"/>
            <a:ext cx="5598817" cy="1933863"/>
          </a:xfrm>
          <a:prstGeom prst="rect">
            <a:avLst/>
          </a:prstGeom>
        </p:spPr>
        <p:txBody>
          <a:bodyPr/>
          <a:lstStyle>
            <a:lvl1pPr>
              <a:defRPr>
                <a:latin typeface="Calibri" pitchFamily="34" charset="0"/>
              </a:defRPr>
            </a:lvl1pPr>
            <a:lvl2pPr>
              <a:defRPr lang="en-US" sz="2300" kern="1200" dirty="0" smtClean="0">
                <a:solidFill>
                  <a:schemeClr val="tx2"/>
                </a:solidFill>
                <a:latin typeface="Calibri" pitchFamily="34" charset="0"/>
                <a:ea typeface="+mn-ea"/>
                <a:cs typeface="+mn-cs"/>
              </a:defRPr>
            </a:lvl2pPr>
            <a:lvl3pPr>
              <a:defRPr lang="en-US" sz="2100" kern="1200" dirty="0" smtClean="0">
                <a:solidFill>
                  <a:schemeClr val="tx2"/>
                </a:solidFill>
                <a:latin typeface="Calibri" pitchFamily="34" charset="0"/>
                <a:ea typeface="+mn-ea"/>
                <a:cs typeface="+mn-cs"/>
              </a:defRPr>
            </a:lvl3pPr>
            <a:lvl4pPr>
              <a:defRPr lang="en-US" sz="2100" kern="1200" dirty="0" smtClean="0">
                <a:solidFill>
                  <a:schemeClr val="tx2"/>
                </a:solidFill>
                <a:latin typeface="Calibri" pitchFamily="34" charset="0"/>
                <a:ea typeface="+mn-ea"/>
                <a:cs typeface="+mn-cs"/>
              </a:defRPr>
            </a:lvl4pPr>
            <a:lvl5pPr>
              <a:defRPr lang="en-US" sz="2100" kern="1200" dirty="0">
                <a:solidFill>
                  <a:schemeClr val="tx2"/>
                </a:solidFill>
                <a:latin typeface="Calibri"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11"/>
          <p:cNvSpPr>
            <a:spLocks noGrp="1"/>
          </p:cNvSpPr>
          <p:nvPr>
            <p:ph type="body" sz="quarter" idx="19"/>
          </p:nvPr>
        </p:nvSpPr>
        <p:spPr bwMode="gray">
          <a:xfrm>
            <a:off x="6618164" y="1583268"/>
            <a:ext cx="5594299" cy="353943"/>
          </a:xfrm>
          <a:prstGeom prst="rect">
            <a:avLst/>
          </a:prstGeom>
        </p:spPr>
        <p:txBody>
          <a:bodyPr>
            <a:spAutoFit/>
          </a:bodyPr>
          <a:lstStyle>
            <a:lvl1pPr>
              <a:defRPr sz="2300" b="1">
                <a:latin typeface="Calibri"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3890192881"/>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4861"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774521104"/>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2" cstate="print"/>
          <a:srcRect l="11237" t="27428" r="9845" b="25551"/>
          <a:stretch>
            <a:fillRect/>
          </a:stretch>
        </p:blipFill>
        <p:spPr bwMode="gray">
          <a:xfrm>
            <a:off x="3982729" y="3436416"/>
            <a:ext cx="4831715" cy="895985"/>
          </a:xfrm>
          <a:prstGeom prst="rect">
            <a:avLst/>
          </a:prstGeom>
          <a:noFill/>
          <a:ln w="9525">
            <a:noFill/>
            <a:miter lim="800000"/>
            <a:headEnd/>
            <a:tailEnd/>
          </a:ln>
        </p:spPr>
      </p:pic>
      <p:sp>
        <p:nvSpPr>
          <p:cNvPr id="3" name="Text Placeholder 5"/>
          <p:cNvSpPr>
            <a:spLocks noGrp="1"/>
          </p:cNvSpPr>
          <p:nvPr>
            <p:ph type="body" sz="quarter" idx="10"/>
          </p:nvPr>
        </p:nvSpPr>
        <p:spPr bwMode="gray">
          <a:xfrm>
            <a:off x="563270" y="6186835"/>
            <a:ext cx="6912864" cy="1305763"/>
          </a:xfrm>
        </p:spPr>
        <p:txBody>
          <a:bodyPr anchor="b" anchorCtr="0">
            <a:noAutofit/>
          </a:bodyPr>
          <a:lstStyle>
            <a:lvl1pPr>
              <a:lnSpc>
                <a:spcPts val="1029"/>
              </a:lnSpc>
              <a:spcBef>
                <a:spcPts val="514"/>
              </a:spcBef>
              <a:spcAft>
                <a:spcPts val="514"/>
              </a:spcAft>
              <a:defRPr sz="900"/>
            </a:lvl1pPr>
          </a:lstStyle>
          <a:p>
            <a:pPr lvl="0"/>
            <a:r>
              <a:rPr lang="en-US" smtClean="0"/>
              <a:t>Click to edit Master text styles</a:t>
            </a:r>
          </a:p>
        </p:txBody>
      </p:sp>
    </p:spTree>
    <p:extLst>
      <p:ext uri="{BB962C8B-B14F-4D97-AF65-F5344CB8AC3E}">
        <p14:creationId xmlns:p14="http://schemas.microsoft.com/office/powerpoint/2010/main" val="2907205512"/>
      </p:ext>
    </p:extLst>
  </p:cSld>
  <p:clrMapOvr>
    <a:masterClrMapping/>
  </p:clrMapOvr>
  <p:transition/>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2" name="Text Placeholder 18"/>
          <p:cNvSpPr>
            <a:spLocks noGrp="1"/>
          </p:cNvSpPr>
          <p:nvPr>
            <p:ph type="body" sz="quarter" idx="13"/>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3947"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7"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Calibri" pitchFamily="34" charset="0"/>
              </a:defRPr>
            </a:lvl1pPr>
          </a:lstStyle>
          <a:p>
            <a:pPr marL="0" marR="0" lvl="0" indent="0" algn="l" defTabSz="1173947"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8" name="Content Placeholder 20"/>
          <p:cNvSpPr>
            <a:spLocks noGrp="1"/>
          </p:cNvSpPr>
          <p:nvPr>
            <p:ph sz="quarter" idx="11"/>
          </p:nvPr>
        </p:nvSpPr>
        <p:spPr bwMode="gray">
          <a:xfrm>
            <a:off x="576072" y="1585570"/>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3352"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0"/>
          <p:cNvSpPr>
            <a:spLocks noGrp="1"/>
          </p:cNvSpPr>
          <p:nvPr>
            <p:ph sz="quarter" idx="14"/>
          </p:nvPr>
        </p:nvSpPr>
        <p:spPr bwMode="gray">
          <a:xfrm>
            <a:off x="4543874" y="1585570"/>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3352"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0"/>
          <p:cNvSpPr>
            <a:spLocks noGrp="1"/>
          </p:cNvSpPr>
          <p:nvPr>
            <p:ph sz="quarter" idx="15"/>
          </p:nvPr>
        </p:nvSpPr>
        <p:spPr bwMode="gray">
          <a:xfrm>
            <a:off x="8496893" y="1585570"/>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3947"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3947"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3352"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6484933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spAutoFit/>
          </a:bodyPr>
          <a:lstStyle/>
          <a:p>
            <a:r>
              <a:rPr lang="en-US" smtClean="0"/>
              <a:t>Click to edit Master title style</a:t>
            </a:r>
            <a:endParaRPr lang="en-US" dirty="0"/>
          </a:p>
        </p:txBody>
      </p:sp>
      <p:sp>
        <p:nvSpPr>
          <p:cNvPr id="3" name="Text Placeholder 7"/>
          <p:cNvSpPr>
            <a:spLocks noGrp="1"/>
          </p:cNvSpPr>
          <p:nvPr>
            <p:ph type="body" sz="quarter" idx="11"/>
          </p:nvPr>
        </p:nvSpPr>
        <p:spPr bwMode="gray">
          <a:xfrm>
            <a:off x="580073" y="883399"/>
            <a:ext cx="11662258" cy="290849"/>
          </a:xfrm>
          <a:noFill/>
          <a:ln w="9525">
            <a:noFill/>
            <a:miter lim="800000"/>
            <a:headEnd/>
            <a:tailEnd/>
          </a:ln>
        </p:spPr>
        <p:txBody>
          <a:bodyPr lIns="0" tIns="0" rIns="0" bIns="0">
            <a:spAutoFit/>
          </a:bodyPr>
          <a:lstStyle>
            <a:lvl1pPr algn="l" rtl="0" eaLnBrk="0" fontAlgn="base" hangingPunct="0">
              <a:lnSpc>
                <a:spcPct val="90000"/>
              </a:lnSpc>
              <a:spcBef>
                <a:spcPct val="0"/>
              </a:spcBef>
              <a:spcAft>
                <a:spcPct val="0"/>
              </a:spcAft>
              <a:defRPr lang="en-US" sz="2100" b="0" kern="1200" dirty="0">
                <a:solidFill>
                  <a:schemeClr val="tx1"/>
                </a:solidFill>
                <a:latin typeface="Calibri" pitchFamily="34" charset="0"/>
                <a:ea typeface="+mn-ea"/>
                <a:cs typeface="Calibri"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138547475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600202" y="3365911"/>
            <a:ext cx="5758498" cy="470898"/>
          </a:xfrm>
          <a:prstGeom prst="rect">
            <a:avLst/>
          </a:prstGeom>
        </p:spPr>
        <p:txBody>
          <a:bodyPr anchor="b" anchorCtr="0">
            <a:spAutoFit/>
          </a:bodyPr>
          <a:lstStyle>
            <a:lvl1pPr>
              <a:lnSpc>
                <a:spcPct val="85000"/>
              </a:lnSpc>
              <a:defRPr sz="36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600202" y="4181271"/>
            <a:ext cx="5758498" cy="353943"/>
          </a:xfrm>
          <a:prstGeom prst="rect">
            <a:avLst/>
          </a:prstGeom>
        </p:spPr>
        <p:txBody>
          <a:bodyPr>
            <a:spAutoFit/>
          </a:bodyPr>
          <a:lstStyle>
            <a:lvl1pPr>
              <a:lnSpc>
                <a:spcPct val="100000"/>
              </a:lnSpc>
              <a:defRPr sz="2300" b="1" smtClean="0">
                <a:latin typeface="Calibri" pitchFamily="34" charset="0"/>
              </a:defRPr>
            </a:lvl1pPr>
          </a:lstStyle>
          <a:p>
            <a:r>
              <a:rPr lang="en-US" dirty="0" smtClean="0"/>
              <a:t>Click to edit Master subtitle style</a:t>
            </a:r>
            <a:endParaRPr dirty="0" smtClean="0"/>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566738" y="343642"/>
            <a:ext cx="2291397" cy="349038"/>
          </a:xfrm>
          <a:prstGeom prst="rect">
            <a:avLst/>
          </a:prstGeom>
          <a:noFill/>
        </p:spPr>
      </p:pic>
    </p:spTree>
    <p:extLst>
      <p:ext uri="{BB962C8B-B14F-4D97-AF65-F5344CB8AC3E}">
        <p14:creationId xmlns:p14="http://schemas.microsoft.com/office/powerpoint/2010/main" val="4153374250"/>
      </p:ext>
    </p:extLst>
  </p:cSld>
  <p:clrMapOvr>
    <a:masterClrMapping/>
  </p:clrMapOvr>
  <p:transition/>
  <p:hf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576080"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861" rtl="0" eaLnBrk="1" fontAlgn="base" latinLnBrk="0" hangingPunct="1">
              <a:lnSpc>
                <a:spcPct val="100000"/>
              </a:lnSpc>
              <a:spcAft>
                <a:spcPct val="0"/>
              </a:spcAft>
              <a:buFont typeface="Arial" pitchFamily="34" charset="0"/>
              <a:tabLst>
                <a:tab pos="4997237" algn="r"/>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861" rtl="0" eaLnBrk="1" fontAlgn="base" latinLnBrk="0" hangingPunct="1">
              <a:lnSpc>
                <a:spcPct val="100000"/>
              </a:lnSpc>
              <a:spcAft>
                <a:spcPct val="0"/>
              </a:spcAft>
              <a:buFont typeface="Arial" pitchFamily="34" charset="0"/>
              <a:tabLst>
                <a:tab pos="4997237" algn="r"/>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861" rtl="0" eaLnBrk="1" fontAlgn="base" latinLnBrk="0" hangingPunct="1">
              <a:lnSpc>
                <a:spcPct val="100000"/>
              </a:lnSpc>
              <a:spcAft>
                <a:spcPct val="0"/>
              </a:spcAft>
              <a:buFont typeface="Arial" pitchFamily="34" charset="0"/>
              <a:tabLst>
                <a:tab pos="4989078" algn="r"/>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861" rtl="0" eaLnBrk="1" fontAlgn="base" latinLnBrk="0" hangingPunct="1">
              <a:lnSpc>
                <a:spcPct val="100000"/>
              </a:lnSpc>
              <a:spcAft>
                <a:spcPct val="0"/>
              </a:spcAft>
              <a:buFont typeface="Arial" pitchFamily="34" charset="0"/>
              <a:tabLst>
                <a:tab pos="4997237" algn="r"/>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861" rtl="0" eaLnBrk="1" fontAlgn="base" latinLnBrk="0" hangingPunct="1">
              <a:lnSpc>
                <a:spcPct val="100000"/>
              </a:lnSpc>
              <a:spcAft>
                <a:spcPct val="0"/>
              </a:spcAft>
              <a:buFont typeface="Arial" pitchFamily="34" charset="0"/>
              <a:tabLst>
                <a:tab pos="4997237" algn="r"/>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7237"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4861"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37531550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76070" y="1585570"/>
            <a:ext cx="11662258" cy="5539130"/>
          </a:xfrm>
          <a:prstGeom prst="rect">
            <a:avLst/>
          </a:prstGeom>
        </p:spPr>
        <p:txBody>
          <a:bodyPr vert="horz" lIns="0" tIns="0" rIns="0" bIns="0" rtlCol="0">
            <a:noAutofit/>
          </a:bodyPr>
          <a:lstStyle>
            <a:lvl1pPr marL="0" marR="0" indent="0" algn="l" defTabSz="1174861" rtl="0" eaLnBrk="1" fontAlgn="base" latinLnBrk="0" hangingPunct="1">
              <a:lnSpc>
                <a:spcPct val="100000"/>
              </a:lnSpc>
              <a:spcBef>
                <a:spcPts val="2829"/>
              </a:spcBef>
              <a:spcAft>
                <a:spcPct val="0"/>
              </a:spcAft>
              <a:buClrTx/>
              <a:buSzTx/>
              <a:buFont typeface="Arial" pitchFamily="34" charset="0"/>
              <a:buNone/>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L="224366" marR="0" indent="-222328"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5pPr>
            <a:lvl6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861"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4861"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47751885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576080"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7237"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18"/>
          <p:cNvSpPr>
            <a:spLocks noGrp="1"/>
          </p:cNvSpPr>
          <p:nvPr>
            <p:ph type="body" sz="quarter" idx="13"/>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861"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6"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4861"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7" name="Content Placeholder 20"/>
          <p:cNvSpPr>
            <a:spLocks noGrp="1"/>
          </p:cNvSpPr>
          <p:nvPr>
            <p:ph sz="quarter" idx="14"/>
          </p:nvPr>
        </p:nvSpPr>
        <p:spPr bwMode="gray">
          <a:xfrm>
            <a:off x="6614169" y="1585570"/>
            <a:ext cx="5598817"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7237"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6085379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3 Column">
    <p:spTree>
      <p:nvGrpSpPr>
        <p:cNvPr id="1" name=""/>
        <p:cNvGrpSpPr/>
        <p:nvPr/>
      </p:nvGrpSpPr>
      <p:grpSpPr>
        <a:xfrm>
          <a:off x="0" y="0"/>
          <a:ext cx="0" cy="0"/>
          <a:chOff x="0" y="0"/>
          <a:chExt cx="0" cy="0"/>
        </a:xfrm>
      </p:grpSpPr>
      <p:sp>
        <p:nvSpPr>
          <p:cNvPr id="12" name="Text Placeholder 18"/>
          <p:cNvSpPr>
            <a:spLocks noGrp="1"/>
          </p:cNvSpPr>
          <p:nvPr>
            <p:ph type="body" sz="quarter" idx="13"/>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861"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7"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Calibri" pitchFamily="34" charset="0"/>
              </a:defRPr>
            </a:lvl1pPr>
          </a:lstStyle>
          <a:p>
            <a:pPr marL="0" marR="0" lvl="0" indent="0" algn="l" defTabSz="1174861"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8" name="Content Placeholder 20"/>
          <p:cNvSpPr>
            <a:spLocks noGrp="1"/>
          </p:cNvSpPr>
          <p:nvPr>
            <p:ph sz="quarter" idx="11"/>
          </p:nvPr>
        </p:nvSpPr>
        <p:spPr bwMode="gray">
          <a:xfrm>
            <a:off x="576072" y="1585570"/>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7237"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0"/>
          <p:cNvSpPr>
            <a:spLocks noGrp="1"/>
          </p:cNvSpPr>
          <p:nvPr>
            <p:ph sz="quarter" idx="14"/>
          </p:nvPr>
        </p:nvSpPr>
        <p:spPr bwMode="gray">
          <a:xfrm>
            <a:off x="4543874" y="1585570"/>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7237"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0"/>
          <p:cNvSpPr>
            <a:spLocks noGrp="1"/>
          </p:cNvSpPr>
          <p:nvPr>
            <p:ph sz="quarter" idx="15"/>
          </p:nvPr>
        </p:nvSpPr>
        <p:spPr bwMode="gray">
          <a:xfrm>
            <a:off x="8496893" y="1585570"/>
            <a:ext cx="3712464" cy="553913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R="0" algn="l" defTabSz="1174861" rtl="0" eaLnBrk="1" fontAlgn="base" latinLnBrk="0" hangingPunct="1">
              <a:lnSpc>
                <a:spcPct val="100000"/>
              </a:lnSpc>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3pPr>
            <a:lvl4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R="0" algn="l" defTabSz="1174861" rtl="0" eaLnBrk="1" fontAlgn="base" latinLnBrk="0" hangingPunct="1">
              <a:lnSpc>
                <a:spcPct val="100000"/>
              </a:lnSpc>
              <a:spcAft>
                <a:spcPct val="0"/>
              </a:spcAft>
              <a:buFont typeface="Arial" pitchFamily="34" charset="0"/>
              <a:tabLst/>
              <a:defRPr kumimoji="0" lang="en-US" sz="2100" b="0" i="0" u="none" strike="noStrike" kern="1200" cap="none" normalizeH="0" baseline="0" dirty="0">
                <a:ln>
                  <a:noFill/>
                </a:ln>
                <a:solidFill>
                  <a:schemeClr val="tx2"/>
                </a:solidFill>
                <a:effectLst/>
                <a:latin typeface="Calibri" pitchFamily="34" charset="0"/>
                <a:ea typeface="+mn-ea"/>
                <a:cs typeface="Calibri" pitchFamily="34" charset="0"/>
              </a:defRPr>
            </a:lvl5pPr>
            <a:lvl6pPr>
              <a:tabLst>
                <a:tab pos="4997237"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329892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576069" y="2123015"/>
            <a:ext cx="11662258" cy="1933863"/>
          </a:xfrm>
          <a:prstGeom prst="rect">
            <a:avLst/>
          </a:prstGeom>
        </p:spPr>
        <p:txBody>
          <a:bodyPr/>
          <a:lstStyle>
            <a:lvl1pPr>
              <a:defRPr>
                <a:latin typeface="Calibri" pitchFamily="34" charset="0"/>
              </a:defRPr>
            </a:lvl1pPr>
            <a:lvl2pPr>
              <a:defRPr lang="en-US" sz="2300" kern="1200" dirty="0" smtClean="0">
                <a:solidFill>
                  <a:schemeClr val="tx2"/>
                </a:solidFill>
                <a:latin typeface="Calibri" pitchFamily="34" charset="0"/>
                <a:ea typeface="+mn-ea"/>
                <a:cs typeface="+mn-cs"/>
              </a:defRPr>
            </a:lvl2pPr>
            <a:lvl3pPr>
              <a:defRPr lang="en-US" sz="2100" kern="1200" dirty="0" smtClean="0">
                <a:solidFill>
                  <a:schemeClr val="tx2"/>
                </a:solidFill>
                <a:latin typeface="Calibri" pitchFamily="34" charset="0"/>
                <a:ea typeface="+mn-ea"/>
                <a:cs typeface="+mn-cs"/>
              </a:defRPr>
            </a:lvl3pPr>
            <a:lvl4pPr>
              <a:defRPr lang="en-US" sz="2100" kern="1200" dirty="0" smtClean="0">
                <a:solidFill>
                  <a:schemeClr val="tx2"/>
                </a:solidFill>
                <a:latin typeface="Calibri" pitchFamily="34" charset="0"/>
                <a:ea typeface="+mn-ea"/>
                <a:cs typeface="+mn-cs"/>
              </a:defRPr>
            </a:lvl4pPr>
            <a:lvl5pPr>
              <a:defRPr lang="en-US" sz="2100" kern="1200" dirty="0">
                <a:solidFill>
                  <a:schemeClr val="tx2"/>
                </a:solidFill>
                <a:latin typeface="Calibri"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bwMode="gray">
          <a:xfrm>
            <a:off x="580073" y="1583268"/>
            <a:ext cx="11662258" cy="353943"/>
          </a:xfrm>
          <a:prstGeom prst="rect">
            <a:avLst/>
          </a:prstGeom>
        </p:spPr>
        <p:txBody>
          <a:bodyPr>
            <a:spAutoFit/>
          </a:bodyPr>
          <a:lstStyle>
            <a:lvl1pPr>
              <a:defRPr sz="2300" b="1">
                <a:latin typeface="Calibri" pitchFamily="34" charset="0"/>
              </a:defRPr>
            </a:lvl1pPr>
          </a:lstStyle>
          <a:p>
            <a:pPr lvl="0"/>
            <a:r>
              <a:rPr lang="en-US" dirty="0" smtClean="0"/>
              <a:t>Click to edit Master text styles</a:t>
            </a:r>
          </a:p>
        </p:txBody>
      </p:sp>
      <p:sp>
        <p:nvSpPr>
          <p:cNvPr id="7" name="Text Placeholder 13"/>
          <p:cNvSpPr>
            <a:spLocks noGrp="1"/>
          </p:cNvSpPr>
          <p:nvPr>
            <p:ph type="body" sz="quarter" idx="15"/>
          </p:nvPr>
        </p:nvSpPr>
        <p:spPr bwMode="gray">
          <a:xfrm>
            <a:off x="576072" y="6965634"/>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chemeClr val="tx2"/>
                </a:solidFill>
                <a:latin typeface="Calibri" pitchFamily="34" charset="0"/>
                <a:ea typeface="+mn-ea"/>
                <a:cs typeface="Calibri"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p:txBody>
      </p:sp>
      <p:sp>
        <p:nvSpPr>
          <p:cNvPr id="13" name="Text Placeholder 18"/>
          <p:cNvSpPr>
            <a:spLocks noGrp="1"/>
          </p:cNvSpPr>
          <p:nvPr>
            <p:ph type="body" sz="quarter" idx="16"/>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861"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8"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Calibri" pitchFamily="34" charset="0"/>
              </a:defRPr>
            </a:lvl1pPr>
          </a:lstStyle>
          <a:p>
            <a:pPr marL="0" marR="0" lvl="0" indent="0" algn="l" defTabSz="1174861"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297077849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576080" y="2123014"/>
            <a:ext cx="5598817" cy="1933863"/>
          </a:xfrm>
          <a:prstGeom prst="rect">
            <a:avLst/>
          </a:prstGeom>
        </p:spPr>
        <p:txBody>
          <a:bodyPr/>
          <a:lstStyle>
            <a:lvl1pPr>
              <a:defRPr>
                <a:latin typeface="Calibri" pitchFamily="34" charset="0"/>
              </a:defRPr>
            </a:lvl1pPr>
            <a:lvl2pPr>
              <a:defRPr lang="en-US" sz="2300" kern="1200" dirty="0" smtClean="0">
                <a:solidFill>
                  <a:schemeClr val="tx2"/>
                </a:solidFill>
                <a:latin typeface="Calibri" pitchFamily="34" charset="0"/>
                <a:ea typeface="+mn-ea"/>
                <a:cs typeface="+mn-cs"/>
              </a:defRPr>
            </a:lvl2pPr>
            <a:lvl3pPr>
              <a:defRPr lang="en-US" sz="2100" kern="1200" dirty="0" smtClean="0">
                <a:solidFill>
                  <a:schemeClr val="tx2"/>
                </a:solidFill>
                <a:latin typeface="Calibri" pitchFamily="34" charset="0"/>
                <a:ea typeface="+mn-ea"/>
                <a:cs typeface="+mn-cs"/>
              </a:defRPr>
            </a:lvl3pPr>
            <a:lvl4pPr>
              <a:defRPr lang="en-US" sz="2100" kern="1200" dirty="0" smtClean="0">
                <a:solidFill>
                  <a:schemeClr val="tx2"/>
                </a:solidFill>
                <a:latin typeface="Calibri" pitchFamily="34" charset="0"/>
                <a:ea typeface="+mn-ea"/>
                <a:cs typeface="+mn-cs"/>
              </a:defRPr>
            </a:lvl4pPr>
            <a:lvl5pPr>
              <a:defRPr lang="en-US" sz="2100" kern="1200" dirty="0">
                <a:solidFill>
                  <a:schemeClr val="tx2"/>
                </a:solidFill>
                <a:latin typeface="Calibri"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bwMode="gray">
          <a:xfrm>
            <a:off x="580073" y="1583268"/>
            <a:ext cx="5594299" cy="353943"/>
          </a:xfrm>
          <a:prstGeom prst="rect">
            <a:avLst/>
          </a:prstGeom>
        </p:spPr>
        <p:txBody>
          <a:bodyPr>
            <a:spAutoFit/>
          </a:bodyPr>
          <a:lstStyle>
            <a:lvl1pPr>
              <a:defRPr sz="2300" b="1">
                <a:latin typeface="Calibri" pitchFamily="34" charset="0"/>
              </a:defRPr>
            </a:lvl1pPr>
          </a:lstStyle>
          <a:p>
            <a:pPr lvl="0"/>
            <a:r>
              <a:rPr lang="en-US" dirty="0" smtClean="0"/>
              <a:t>Click to edit Master text styles</a:t>
            </a:r>
          </a:p>
        </p:txBody>
      </p:sp>
      <p:sp>
        <p:nvSpPr>
          <p:cNvPr id="14" name="Text Placeholder 13"/>
          <p:cNvSpPr>
            <a:spLocks noGrp="1"/>
          </p:cNvSpPr>
          <p:nvPr>
            <p:ph type="body" sz="quarter" idx="15"/>
          </p:nvPr>
        </p:nvSpPr>
        <p:spPr bwMode="gray">
          <a:xfrm>
            <a:off x="576072" y="6965634"/>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rgbClr val="002776"/>
                </a:solidFill>
                <a:latin typeface="Calibri" pitchFamily="34" charset="0"/>
                <a:ea typeface="+mn-ea"/>
                <a:cs typeface="Calibri"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p:txBody>
      </p:sp>
      <p:sp>
        <p:nvSpPr>
          <p:cNvPr id="15" name="Text Placeholder 13"/>
          <p:cNvSpPr>
            <a:spLocks noGrp="1"/>
          </p:cNvSpPr>
          <p:nvPr>
            <p:ph type="body" sz="quarter" idx="16"/>
          </p:nvPr>
        </p:nvSpPr>
        <p:spPr bwMode="gray">
          <a:xfrm>
            <a:off x="6632986" y="6965634"/>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rgbClr val="002776"/>
                </a:solidFill>
                <a:latin typeface="Calibri" pitchFamily="34" charset="0"/>
                <a:ea typeface="+mn-ea"/>
                <a:cs typeface="Calibri"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p:txBody>
      </p:sp>
      <p:sp>
        <p:nvSpPr>
          <p:cNvPr id="17" name="Text Placeholder 18"/>
          <p:cNvSpPr>
            <a:spLocks noGrp="1"/>
          </p:cNvSpPr>
          <p:nvPr>
            <p:ph type="body" sz="quarter" idx="17"/>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4861"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10"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Calibri" pitchFamily="34" charset="0"/>
              </a:defRPr>
            </a:lvl1pPr>
          </a:lstStyle>
          <a:p>
            <a:pPr marL="0" marR="0" lvl="0" indent="0" algn="l" defTabSz="1174861"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11" name="Content Placeholder 20"/>
          <p:cNvSpPr>
            <a:spLocks noGrp="1"/>
          </p:cNvSpPr>
          <p:nvPr>
            <p:ph sz="quarter" idx="18"/>
          </p:nvPr>
        </p:nvSpPr>
        <p:spPr bwMode="gray">
          <a:xfrm>
            <a:off x="6614169" y="2123014"/>
            <a:ext cx="5598817" cy="1933863"/>
          </a:xfrm>
          <a:prstGeom prst="rect">
            <a:avLst/>
          </a:prstGeom>
        </p:spPr>
        <p:txBody>
          <a:bodyPr/>
          <a:lstStyle>
            <a:lvl1pPr>
              <a:defRPr>
                <a:latin typeface="Calibri" pitchFamily="34" charset="0"/>
              </a:defRPr>
            </a:lvl1pPr>
            <a:lvl2pPr>
              <a:defRPr lang="en-US" sz="2300" kern="1200" dirty="0" smtClean="0">
                <a:solidFill>
                  <a:schemeClr val="tx2"/>
                </a:solidFill>
                <a:latin typeface="Calibri" pitchFamily="34" charset="0"/>
                <a:ea typeface="+mn-ea"/>
                <a:cs typeface="+mn-cs"/>
              </a:defRPr>
            </a:lvl2pPr>
            <a:lvl3pPr>
              <a:defRPr lang="en-US" sz="2100" kern="1200" dirty="0" smtClean="0">
                <a:solidFill>
                  <a:schemeClr val="tx2"/>
                </a:solidFill>
                <a:latin typeface="Calibri" pitchFamily="34" charset="0"/>
                <a:ea typeface="+mn-ea"/>
                <a:cs typeface="+mn-cs"/>
              </a:defRPr>
            </a:lvl3pPr>
            <a:lvl4pPr>
              <a:defRPr lang="en-US" sz="2100" kern="1200" dirty="0" smtClean="0">
                <a:solidFill>
                  <a:schemeClr val="tx2"/>
                </a:solidFill>
                <a:latin typeface="Calibri" pitchFamily="34" charset="0"/>
                <a:ea typeface="+mn-ea"/>
                <a:cs typeface="+mn-cs"/>
              </a:defRPr>
            </a:lvl4pPr>
            <a:lvl5pPr>
              <a:defRPr lang="en-US" sz="2100" kern="1200" dirty="0">
                <a:solidFill>
                  <a:schemeClr val="tx2"/>
                </a:solidFill>
                <a:latin typeface="Calibri"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11"/>
          <p:cNvSpPr>
            <a:spLocks noGrp="1"/>
          </p:cNvSpPr>
          <p:nvPr>
            <p:ph type="body" sz="quarter" idx="19"/>
          </p:nvPr>
        </p:nvSpPr>
        <p:spPr bwMode="gray">
          <a:xfrm>
            <a:off x="6618164" y="1583268"/>
            <a:ext cx="5594299" cy="353943"/>
          </a:xfrm>
          <a:prstGeom prst="rect">
            <a:avLst/>
          </a:prstGeom>
        </p:spPr>
        <p:txBody>
          <a:bodyPr>
            <a:spAutoFit/>
          </a:bodyPr>
          <a:lstStyle>
            <a:lvl1pPr>
              <a:defRPr sz="2300" b="1">
                <a:latin typeface="Calibri"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20033417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4861"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99583423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2" cstate="print"/>
          <a:srcRect l="11237" t="27428" r="9845" b="25551"/>
          <a:stretch>
            <a:fillRect/>
          </a:stretch>
        </p:blipFill>
        <p:spPr bwMode="gray">
          <a:xfrm>
            <a:off x="3982729" y="3436416"/>
            <a:ext cx="4831715" cy="895985"/>
          </a:xfrm>
          <a:prstGeom prst="rect">
            <a:avLst/>
          </a:prstGeom>
          <a:noFill/>
          <a:ln w="9525">
            <a:noFill/>
            <a:miter lim="800000"/>
            <a:headEnd/>
            <a:tailEnd/>
          </a:ln>
        </p:spPr>
      </p:pic>
      <p:sp>
        <p:nvSpPr>
          <p:cNvPr id="3" name="Text Placeholder 5"/>
          <p:cNvSpPr>
            <a:spLocks noGrp="1"/>
          </p:cNvSpPr>
          <p:nvPr>
            <p:ph type="body" sz="quarter" idx="10"/>
          </p:nvPr>
        </p:nvSpPr>
        <p:spPr bwMode="gray">
          <a:xfrm>
            <a:off x="563270" y="6186835"/>
            <a:ext cx="6912864" cy="1305763"/>
          </a:xfrm>
        </p:spPr>
        <p:txBody>
          <a:bodyPr anchor="b" anchorCtr="0">
            <a:noAutofit/>
          </a:bodyPr>
          <a:lstStyle>
            <a:lvl1pPr>
              <a:lnSpc>
                <a:spcPts val="1029"/>
              </a:lnSpc>
              <a:spcBef>
                <a:spcPts val="514"/>
              </a:spcBef>
              <a:spcAft>
                <a:spcPts val="514"/>
              </a:spcAft>
              <a:defRPr sz="900"/>
            </a:lvl1pPr>
          </a:lstStyle>
          <a:p>
            <a:pPr lvl="0"/>
            <a:r>
              <a:rPr lang="en-US" smtClean="0"/>
              <a:t>Click to edit Master text styles</a:t>
            </a:r>
          </a:p>
        </p:txBody>
      </p:sp>
    </p:spTree>
    <p:extLst>
      <p:ext uri="{BB962C8B-B14F-4D97-AF65-F5344CB8AC3E}">
        <p14:creationId xmlns:p14="http://schemas.microsoft.com/office/powerpoint/2010/main" val="607677550"/>
      </p:ext>
    </p:extLst>
  </p:cSld>
  <p:clrMapOvr>
    <a:masterClrMapping/>
  </p:clrMapOvr>
  <p:transition/>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576069" y="2123015"/>
            <a:ext cx="11662258" cy="1933863"/>
          </a:xfrm>
          <a:prstGeom prst="rect">
            <a:avLst/>
          </a:prstGeom>
        </p:spPr>
        <p:txBody>
          <a:bodyPr/>
          <a:lstStyle>
            <a:lvl1pPr>
              <a:defRPr>
                <a:latin typeface="Calibri" pitchFamily="34" charset="0"/>
              </a:defRPr>
            </a:lvl1pPr>
            <a:lvl2pPr>
              <a:defRPr lang="en-US" sz="2300" kern="1200" dirty="0" smtClean="0">
                <a:solidFill>
                  <a:schemeClr val="tx2"/>
                </a:solidFill>
                <a:latin typeface="Calibri" pitchFamily="34" charset="0"/>
                <a:ea typeface="+mn-ea"/>
                <a:cs typeface="+mn-cs"/>
              </a:defRPr>
            </a:lvl2pPr>
            <a:lvl3pPr>
              <a:defRPr lang="en-US" sz="2100" kern="1200" dirty="0" smtClean="0">
                <a:solidFill>
                  <a:schemeClr val="tx2"/>
                </a:solidFill>
                <a:latin typeface="Calibri" pitchFamily="34" charset="0"/>
                <a:ea typeface="+mn-ea"/>
                <a:cs typeface="+mn-cs"/>
              </a:defRPr>
            </a:lvl3pPr>
            <a:lvl4pPr>
              <a:defRPr lang="en-US" sz="2100" kern="1200" dirty="0" smtClean="0">
                <a:solidFill>
                  <a:schemeClr val="tx2"/>
                </a:solidFill>
                <a:latin typeface="Calibri" pitchFamily="34" charset="0"/>
                <a:ea typeface="+mn-ea"/>
                <a:cs typeface="+mn-cs"/>
              </a:defRPr>
            </a:lvl4pPr>
            <a:lvl5pPr>
              <a:defRPr lang="en-US" sz="2100" kern="1200" dirty="0">
                <a:solidFill>
                  <a:schemeClr val="tx2"/>
                </a:solidFill>
                <a:latin typeface="Calibri"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bwMode="gray">
          <a:xfrm>
            <a:off x="580073" y="1583268"/>
            <a:ext cx="11662258" cy="353943"/>
          </a:xfrm>
          <a:prstGeom prst="rect">
            <a:avLst/>
          </a:prstGeom>
        </p:spPr>
        <p:txBody>
          <a:bodyPr>
            <a:spAutoFit/>
          </a:bodyPr>
          <a:lstStyle>
            <a:lvl1pPr>
              <a:defRPr sz="2300" b="1">
                <a:latin typeface="Calibri" pitchFamily="34" charset="0"/>
              </a:defRPr>
            </a:lvl1pPr>
          </a:lstStyle>
          <a:p>
            <a:pPr lvl="0"/>
            <a:r>
              <a:rPr lang="en-US" dirty="0" smtClean="0"/>
              <a:t>Click to edit Master text styles</a:t>
            </a:r>
          </a:p>
        </p:txBody>
      </p:sp>
      <p:sp>
        <p:nvSpPr>
          <p:cNvPr id="7" name="Text Placeholder 13"/>
          <p:cNvSpPr>
            <a:spLocks noGrp="1"/>
          </p:cNvSpPr>
          <p:nvPr>
            <p:ph type="body" sz="quarter" idx="15"/>
          </p:nvPr>
        </p:nvSpPr>
        <p:spPr bwMode="gray">
          <a:xfrm>
            <a:off x="576072" y="6965634"/>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chemeClr val="tx2"/>
                </a:solidFill>
                <a:latin typeface="Calibri" pitchFamily="34" charset="0"/>
                <a:ea typeface="+mn-ea"/>
                <a:cs typeface="Calibri"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p:txBody>
      </p:sp>
      <p:sp>
        <p:nvSpPr>
          <p:cNvPr id="13" name="Text Placeholder 18"/>
          <p:cNvSpPr>
            <a:spLocks noGrp="1"/>
          </p:cNvSpPr>
          <p:nvPr>
            <p:ph type="body" sz="quarter" idx="16"/>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3947"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8"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Calibri" pitchFamily="34" charset="0"/>
              </a:defRPr>
            </a:lvl1pPr>
          </a:lstStyle>
          <a:p>
            <a:pPr marL="0" marR="0" lvl="0" indent="0" algn="l" defTabSz="1173947"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747154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with 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504000" y="502484"/>
            <a:ext cx="11793600" cy="423193"/>
          </a:xfrm>
        </p:spPr>
        <p:txBody>
          <a:bodyPr/>
          <a:lstStyle>
            <a:lvl1pPr>
              <a:defRPr>
                <a:solidFill>
                  <a:schemeClr val="tx2"/>
                </a:solidFill>
              </a:defRPr>
            </a:lvl1pPr>
          </a:lstStyle>
          <a:p>
            <a:r>
              <a:rPr lang="en-US" noProof="0" smtClean="0"/>
              <a:t>Click to edit Master title style</a:t>
            </a:r>
            <a:endParaRPr lang="en-US" noProof="0" dirty="0"/>
          </a:p>
        </p:txBody>
      </p:sp>
      <p:sp>
        <p:nvSpPr>
          <p:cNvPr id="15" name="Subtitle1"/>
          <p:cNvSpPr>
            <a:spLocks noGrp="1"/>
          </p:cNvSpPr>
          <p:nvPr>
            <p:ph type="body" idx="13"/>
          </p:nvPr>
        </p:nvSpPr>
        <p:spPr>
          <a:xfrm>
            <a:off x="502285" y="867201"/>
            <a:ext cx="11793600" cy="400110"/>
          </a:xfrm>
        </p:spPr>
        <p:txBody>
          <a:bodyPr rtlCol="0">
            <a:spAutoFit/>
          </a:bodyPr>
          <a:lstStyle>
            <a:lvl1pPr marL="0" indent="0" algn="l" defTabSz="1174991" rtl="0" eaLnBrk="1" latinLnBrk="0" hangingPunct="1">
              <a:spcBef>
                <a:spcPct val="0"/>
              </a:spcBef>
              <a:buNone/>
              <a:defRPr lang="en-US" sz="2600" b="0" kern="1200" dirty="0" smtClean="0">
                <a:solidFill>
                  <a:schemeClr val="tx2"/>
                </a:solidFill>
                <a:latin typeface="+mn-lt"/>
                <a:ea typeface="+mj-ea"/>
                <a:cs typeface="+mj-cs"/>
              </a:defRPr>
            </a:lvl1pPr>
            <a:lvl2pPr marL="587494" indent="0">
              <a:buNone/>
              <a:defRPr sz="2600" b="1"/>
            </a:lvl2pPr>
            <a:lvl3pPr marL="1174991" indent="0">
              <a:buNone/>
              <a:defRPr sz="2300" b="1"/>
            </a:lvl3pPr>
            <a:lvl4pPr marL="1762488" indent="0">
              <a:buNone/>
              <a:defRPr sz="2100" b="1"/>
            </a:lvl4pPr>
            <a:lvl5pPr marL="2349983" indent="0">
              <a:buNone/>
              <a:defRPr sz="2100" b="1"/>
            </a:lvl5pPr>
            <a:lvl6pPr marL="2937477" indent="0">
              <a:buNone/>
              <a:defRPr sz="2100" b="1"/>
            </a:lvl6pPr>
            <a:lvl7pPr marL="3524973" indent="0">
              <a:buNone/>
              <a:defRPr sz="2100" b="1"/>
            </a:lvl7pPr>
            <a:lvl8pPr marL="4112468" indent="0">
              <a:buNone/>
              <a:defRPr sz="2100" b="1"/>
            </a:lvl8pPr>
            <a:lvl9pPr marL="4699965" indent="0">
              <a:buNone/>
              <a:defRPr sz="2100" b="1"/>
            </a:lvl9pPr>
          </a:lstStyle>
          <a:p>
            <a:pPr lvl="0"/>
            <a:r>
              <a:rPr lang="en-US" noProof="0" smtClean="0"/>
              <a:t>Click to edit Master text styles</a:t>
            </a:r>
          </a:p>
        </p:txBody>
      </p:sp>
      <p:sp>
        <p:nvSpPr>
          <p:cNvPr id="38" name="Content Placeholder 2"/>
          <p:cNvSpPr>
            <a:spLocks noGrp="1"/>
          </p:cNvSpPr>
          <p:nvPr>
            <p:ph idx="1"/>
          </p:nvPr>
        </p:nvSpPr>
        <p:spPr>
          <a:xfrm>
            <a:off x="502285" y="1437535"/>
            <a:ext cx="5647373" cy="1933863"/>
          </a:xfrm>
        </p:spPr>
        <p:txBody>
          <a:bodyPr/>
          <a:lstStyle>
            <a:lvl1pPr>
              <a:spcBef>
                <a:spcPts val="1286"/>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9" name="Content Placeholder 2"/>
          <p:cNvSpPr>
            <a:spLocks noGrp="1"/>
          </p:cNvSpPr>
          <p:nvPr>
            <p:ph idx="14"/>
          </p:nvPr>
        </p:nvSpPr>
        <p:spPr>
          <a:xfrm>
            <a:off x="6651942" y="1437535"/>
            <a:ext cx="5647373" cy="1933863"/>
          </a:xfrm>
        </p:spPr>
        <p:txBody>
          <a:bodyPr/>
          <a:lstStyle>
            <a:lvl1pPr>
              <a:spcBef>
                <a:spcPts val="1286"/>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Slide Number Placeholder 5"/>
          <p:cNvSpPr>
            <a:spLocks noGrp="1"/>
          </p:cNvSpPr>
          <p:nvPr>
            <p:ph type="sldNum" sz="quarter" idx="15"/>
          </p:nvPr>
        </p:nvSpPr>
        <p:spPr>
          <a:xfrm>
            <a:off x="502287" y="7477343"/>
            <a:ext cx="504508" cy="142135"/>
          </a:xfrm>
          <a:prstGeom prst="rect">
            <a:avLst/>
          </a:prstGeom>
        </p:spPr>
        <p:txBody>
          <a:bodyPr lIns="91430" tIns="45714" rIns="91430" bIns="45714"/>
          <a:lstStyle>
            <a:lvl1pPr>
              <a:defRPr/>
            </a:lvl1pPr>
          </a:lstStyle>
          <a:p>
            <a:pPr>
              <a:defRPr/>
            </a:pPr>
            <a:fld id="{3EBCE48F-97FC-4ECD-A61D-21D30C0DA2B8}" type="slidenum">
              <a:rPr lang="en-US">
                <a:solidFill>
                  <a:srgbClr val="002776"/>
                </a:solidFill>
              </a:rPr>
              <a:pPr>
                <a:defRPr/>
              </a:pPr>
              <a:t>‹#›</a:t>
            </a:fld>
            <a:endParaRPr lang="en-US" dirty="0">
              <a:solidFill>
                <a:srgbClr val="002776"/>
              </a:solidFill>
            </a:endParaRPr>
          </a:p>
        </p:txBody>
      </p:sp>
      <p:sp>
        <p:nvSpPr>
          <p:cNvPr id="7" name="Footer Placeholder 2"/>
          <p:cNvSpPr>
            <a:spLocks noGrp="1"/>
          </p:cNvSpPr>
          <p:nvPr>
            <p:ph type="ftr" sz="quarter" idx="16"/>
          </p:nvPr>
        </p:nvSpPr>
        <p:spPr>
          <a:xfrm>
            <a:off x="1011238" y="7477337"/>
            <a:ext cx="4053840" cy="151130"/>
          </a:xfrm>
          <a:prstGeom prst="rect">
            <a:avLst/>
          </a:prstGeom>
        </p:spPr>
        <p:txBody>
          <a:bodyPr lIns="91430" tIns="45714" rIns="91430" bIns="45714"/>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363158405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ree column with 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504000" y="502484"/>
            <a:ext cx="11793600" cy="423193"/>
          </a:xfrm>
        </p:spPr>
        <p:txBody>
          <a:bodyPr/>
          <a:lstStyle>
            <a:lvl1pPr>
              <a:defRPr>
                <a:solidFill>
                  <a:schemeClr val="tx2"/>
                </a:solidFill>
              </a:defRPr>
            </a:lvl1pPr>
          </a:lstStyle>
          <a:p>
            <a:r>
              <a:rPr lang="en-US" noProof="0" smtClean="0"/>
              <a:t>Click to edit Master title style</a:t>
            </a:r>
            <a:endParaRPr lang="en-US" noProof="0" dirty="0"/>
          </a:p>
        </p:txBody>
      </p:sp>
      <p:sp>
        <p:nvSpPr>
          <p:cNvPr id="16" name="Subtitle2"/>
          <p:cNvSpPr>
            <a:spLocks noGrp="1"/>
          </p:cNvSpPr>
          <p:nvPr>
            <p:ph type="body" idx="14"/>
          </p:nvPr>
        </p:nvSpPr>
        <p:spPr>
          <a:xfrm>
            <a:off x="502285" y="867201"/>
            <a:ext cx="11793600" cy="400110"/>
          </a:xfrm>
        </p:spPr>
        <p:txBody>
          <a:bodyPr rtlCol="0">
            <a:spAutoFit/>
          </a:bodyPr>
          <a:lstStyle>
            <a:lvl1pPr marL="0" indent="0" algn="l" defTabSz="1174991" rtl="0" eaLnBrk="1" latinLnBrk="0" hangingPunct="1">
              <a:spcBef>
                <a:spcPct val="0"/>
              </a:spcBef>
              <a:buNone/>
              <a:defRPr lang="en-US" sz="2600" b="0" kern="1200" dirty="0" smtClean="0">
                <a:solidFill>
                  <a:schemeClr val="tx2"/>
                </a:solidFill>
                <a:latin typeface="+mn-lt"/>
                <a:ea typeface="+mj-ea"/>
                <a:cs typeface="+mj-cs"/>
              </a:defRPr>
            </a:lvl1pPr>
            <a:lvl2pPr marL="587494" indent="0">
              <a:buNone/>
              <a:defRPr sz="2600" b="1"/>
            </a:lvl2pPr>
            <a:lvl3pPr marL="1174991" indent="0">
              <a:buNone/>
              <a:defRPr sz="2300" b="1"/>
            </a:lvl3pPr>
            <a:lvl4pPr marL="1762488" indent="0">
              <a:buNone/>
              <a:defRPr sz="2100" b="1"/>
            </a:lvl4pPr>
            <a:lvl5pPr marL="2349983" indent="0">
              <a:buNone/>
              <a:defRPr sz="2100" b="1"/>
            </a:lvl5pPr>
            <a:lvl6pPr marL="2937477" indent="0">
              <a:buNone/>
              <a:defRPr sz="2100" b="1"/>
            </a:lvl6pPr>
            <a:lvl7pPr marL="3524973" indent="0">
              <a:buNone/>
              <a:defRPr sz="2100" b="1"/>
            </a:lvl7pPr>
            <a:lvl8pPr marL="4112468" indent="0">
              <a:buNone/>
              <a:defRPr sz="2100" b="1"/>
            </a:lvl8pPr>
            <a:lvl9pPr marL="4699965" indent="0">
              <a:buNone/>
              <a:defRPr sz="2100" b="1"/>
            </a:lvl9pPr>
          </a:lstStyle>
          <a:p>
            <a:pPr lvl="0"/>
            <a:r>
              <a:rPr lang="en-US" noProof="0" smtClean="0"/>
              <a:t>Click to edit Master text styles</a:t>
            </a:r>
          </a:p>
        </p:txBody>
      </p:sp>
      <p:sp>
        <p:nvSpPr>
          <p:cNvPr id="38" name="Content Placeholder 2"/>
          <p:cNvSpPr>
            <a:spLocks noGrp="1"/>
          </p:cNvSpPr>
          <p:nvPr>
            <p:ph idx="15"/>
          </p:nvPr>
        </p:nvSpPr>
        <p:spPr>
          <a:xfrm>
            <a:off x="502285" y="1437535"/>
            <a:ext cx="3764880" cy="1933863"/>
          </a:xfrm>
        </p:spPr>
        <p:txBody>
          <a:bodyPr/>
          <a:lstStyle>
            <a:lvl1pPr>
              <a:spcBef>
                <a:spcPts val="1286"/>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9" name="Content Placeholder 2"/>
          <p:cNvSpPr>
            <a:spLocks noGrp="1"/>
          </p:cNvSpPr>
          <p:nvPr>
            <p:ph idx="16"/>
          </p:nvPr>
        </p:nvSpPr>
        <p:spPr>
          <a:xfrm>
            <a:off x="4518360" y="1437535"/>
            <a:ext cx="3764880" cy="1933863"/>
          </a:xfrm>
        </p:spPr>
        <p:txBody>
          <a:bodyPr/>
          <a:lstStyle>
            <a:lvl1pPr>
              <a:spcBef>
                <a:spcPts val="1286"/>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0" name="Content Placeholder 2"/>
          <p:cNvSpPr>
            <a:spLocks noGrp="1"/>
          </p:cNvSpPr>
          <p:nvPr>
            <p:ph idx="17"/>
          </p:nvPr>
        </p:nvSpPr>
        <p:spPr>
          <a:xfrm>
            <a:off x="8534435" y="1437535"/>
            <a:ext cx="3764880" cy="1933863"/>
          </a:xfrm>
        </p:spPr>
        <p:txBody>
          <a:bodyPr/>
          <a:lstStyle>
            <a:lvl1pPr>
              <a:spcBef>
                <a:spcPts val="1286"/>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Slide Number Placeholder 5"/>
          <p:cNvSpPr>
            <a:spLocks noGrp="1"/>
          </p:cNvSpPr>
          <p:nvPr>
            <p:ph type="sldNum" sz="quarter" idx="18"/>
          </p:nvPr>
        </p:nvSpPr>
        <p:spPr>
          <a:xfrm>
            <a:off x="502287" y="7477343"/>
            <a:ext cx="504508" cy="142135"/>
          </a:xfrm>
          <a:prstGeom prst="rect">
            <a:avLst/>
          </a:prstGeom>
        </p:spPr>
        <p:txBody>
          <a:bodyPr lIns="91430" tIns="45714" rIns="91430" bIns="45714"/>
          <a:lstStyle>
            <a:lvl1pPr>
              <a:defRPr/>
            </a:lvl1pPr>
          </a:lstStyle>
          <a:p>
            <a:pPr>
              <a:defRPr/>
            </a:pPr>
            <a:fld id="{6B84123F-65D7-4E03-A4EE-52D2E6DAF030}" type="slidenum">
              <a:rPr lang="en-US">
                <a:solidFill>
                  <a:srgbClr val="002776"/>
                </a:solidFill>
              </a:rPr>
              <a:pPr>
                <a:defRPr/>
              </a:pPr>
              <a:t>‹#›</a:t>
            </a:fld>
            <a:endParaRPr lang="en-US" dirty="0">
              <a:solidFill>
                <a:srgbClr val="002776"/>
              </a:solidFill>
            </a:endParaRPr>
          </a:p>
        </p:txBody>
      </p:sp>
      <p:sp>
        <p:nvSpPr>
          <p:cNvPr id="8" name="Footer Placeholder 2"/>
          <p:cNvSpPr>
            <a:spLocks noGrp="1"/>
          </p:cNvSpPr>
          <p:nvPr>
            <p:ph type="ftr" sz="quarter" idx="19"/>
          </p:nvPr>
        </p:nvSpPr>
        <p:spPr>
          <a:xfrm>
            <a:off x="1011238" y="7477337"/>
            <a:ext cx="4053840" cy="151130"/>
          </a:xfrm>
          <a:prstGeom prst="rect">
            <a:avLst/>
          </a:prstGeom>
        </p:spPr>
        <p:txBody>
          <a:bodyPr lIns="91430" tIns="45714" rIns="91430" bIns="45714"/>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78938841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One graph">
    <p:spTree>
      <p:nvGrpSpPr>
        <p:cNvPr id="1" name=""/>
        <p:cNvGrpSpPr/>
        <p:nvPr/>
      </p:nvGrpSpPr>
      <p:grpSpPr>
        <a:xfrm>
          <a:off x="0" y="0"/>
          <a:ext cx="0" cy="0"/>
          <a:chOff x="0" y="0"/>
          <a:chExt cx="0" cy="0"/>
        </a:xfrm>
      </p:grpSpPr>
      <p:sp>
        <p:nvSpPr>
          <p:cNvPr id="9" name="Title 1"/>
          <p:cNvSpPr>
            <a:spLocks noGrp="1"/>
          </p:cNvSpPr>
          <p:nvPr>
            <p:ph type="title"/>
          </p:nvPr>
        </p:nvSpPr>
        <p:spPr>
          <a:xfrm>
            <a:off x="504000" y="502484"/>
            <a:ext cx="11793600" cy="423193"/>
          </a:xfrm>
        </p:spPr>
        <p:txBody>
          <a:bodyPr/>
          <a:lstStyle>
            <a:lvl1pPr>
              <a:defRPr>
                <a:solidFill>
                  <a:schemeClr val="tx2"/>
                </a:solidFill>
              </a:defRPr>
            </a:lvl1pPr>
          </a:lstStyle>
          <a:p>
            <a:r>
              <a:rPr lang="en-US" noProof="0" smtClean="0"/>
              <a:t>Click to edit Master title style</a:t>
            </a:r>
            <a:endParaRPr lang="en-US" noProof="0" dirty="0"/>
          </a:p>
        </p:txBody>
      </p:sp>
      <p:sp>
        <p:nvSpPr>
          <p:cNvPr id="10" name="Subtitle3"/>
          <p:cNvSpPr>
            <a:spLocks noGrp="1"/>
          </p:cNvSpPr>
          <p:nvPr>
            <p:ph type="body" idx="14"/>
          </p:nvPr>
        </p:nvSpPr>
        <p:spPr>
          <a:xfrm>
            <a:off x="502285" y="867201"/>
            <a:ext cx="11793600" cy="400110"/>
          </a:xfrm>
        </p:spPr>
        <p:txBody>
          <a:bodyPr rtlCol="0">
            <a:spAutoFit/>
          </a:bodyPr>
          <a:lstStyle>
            <a:lvl1pPr marL="0" indent="0" algn="l" defTabSz="1174991" rtl="0" eaLnBrk="1" latinLnBrk="0" hangingPunct="1">
              <a:spcBef>
                <a:spcPct val="0"/>
              </a:spcBef>
              <a:buNone/>
              <a:defRPr lang="en-US" sz="2600" b="0" kern="1200" dirty="0" smtClean="0">
                <a:solidFill>
                  <a:schemeClr val="tx2"/>
                </a:solidFill>
                <a:latin typeface="+mn-lt"/>
                <a:ea typeface="+mj-ea"/>
                <a:cs typeface="+mj-cs"/>
              </a:defRPr>
            </a:lvl1pPr>
            <a:lvl2pPr marL="587494" indent="0">
              <a:buNone/>
              <a:defRPr sz="2600" b="1"/>
            </a:lvl2pPr>
            <a:lvl3pPr marL="1174991" indent="0">
              <a:buNone/>
              <a:defRPr sz="2300" b="1"/>
            </a:lvl3pPr>
            <a:lvl4pPr marL="1762488" indent="0">
              <a:buNone/>
              <a:defRPr sz="2100" b="1"/>
            </a:lvl4pPr>
            <a:lvl5pPr marL="2349983" indent="0">
              <a:buNone/>
              <a:defRPr sz="2100" b="1"/>
            </a:lvl5pPr>
            <a:lvl6pPr marL="2937477" indent="0">
              <a:buNone/>
              <a:defRPr sz="2100" b="1"/>
            </a:lvl6pPr>
            <a:lvl7pPr marL="3524973" indent="0">
              <a:buNone/>
              <a:defRPr sz="2100" b="1"/>
            </a:lvl7pPr>
            <a:lvl8pPr marL="4112468" indent="0">
              <a:buNone/>
              <a:defRPr sz="2100" b="1"/>
            </a:lvl8pPr>
            <a:lvl9pPr marL="4699965" indent="0">
              <a:buNone/>
              <a:defRPr sz="2100" b="1"/>
            </a:lvl9pPr>
          </a:lstStyle>
          <a:p>
            <a:pPr lvl="0"/>
            <a:r>
              <a:rPr lang="en-US" noProof="0" smtClean="0"/>
              <a:t>Click to edit Master text styles</a:t>
            </a:r>
          </a:p>
        </p:txBody>
      </p:sp>
      <p:sp>
        <p:nvSpPr>
          <p:cNvPr id="30" name="Text Placeholder 11"/>
          <p:cNvSpPr>
            <a:spLocks noGrp="1"/>
          </p:cNvSpPr>
          <p:nvPr>
            <p:ph type="body" sz="quarter" idx="17"/>
          </p:nvPr>
        </p:nvSpPr>
        <p:spPr bwMode="gray">
          <a:xfrm>
            <a:off x="502285" y="1437541"/>
            <a:ext cx="11797030" cy="353943"/>
          </a:xfrm>
          <a:prstGeom prst="rect">
            <a:avLst/>
          </a:prstGeom>
        </p:spPr>
        <p:txBody>
          <a:bodyPr>
            <a:spAutoFit/>
          </a:bodyPr>
          <a:lstStyle>
            <a:lvl1pPr>
              <a:defRPr sz="2300" b="1">
                <a:latin typeface="+mn-lt"/>
              </a:defRPr>
            </a:lvl1pPr>
          </a:lstStyle>
          <a:p>
            <a:pPr lvl="0"/>
            <a:r>
              <a:rPr lang="en-US" smtClean="0"/>
              <a:t>Click to edit Master text styles</a:t>
            </a:r>
          </a:p>
        </p:txBody>
      </p:sp>
      <p:sp>
        <p:nvSpPr>
          <p:cNvPr id="32" name="Content Placeholder 2"/>
          <p:cNvSpPr>
            <a:spLocks noGrp="1"/>
          </p:cNvSpPr>
          <p:nvPr>
            <p:ph idx="19"/>
          </p:nvPr>
        </p:nvSpPr>
        <p:spPr>
          <a:xfrm>
            <a:off x="502285" y="1943087"/>
            <a:ext cx="11797030" cy="1933863"/>
          </a:xfrm>
        </p:spPr>
        <p:txBody>
          <a:bodyPr/>
          <a:lstStyle>
            <a:lvl1pPr>
              <a:spcBef>
                <a:spcPts val="1286"/>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5" name="Text Placeholder 13"/>
          <p:cNvSpPr>
            <a:spLocks noGrp="1"/>
          </p:cNvSpPr>
          <p:nvPr>
            <p:ph type="body" sz="quarter" idx="20"/>
          </p:nvPr>
        </p:nvSpPr>
        <p:spPr bwMode="gray">
          <a:xfrm>
            <a:off x="502285" y="6996004"/>
            <a:ext cx="5647373" cy="153888"/>
          </a:xfrm>
          <a:prstGeom prst="rect">
            <a:avLst/>
          </a:prstGeom>
          <a:noFill/>
          <a:ln w="12700" algn="ctr">
            <a:noFill/>
            <a:miter lim="800000"/>
            <a:headEnd/>
            <a:tailEnd/>
          </a:ln>
        </p:spPr>
        <p:txBody>
          <a:bodyPr anchor="b">
            <a:spAutoFit/>
          </a:bodyPr>
          <a:lstStyle>
            <a:lvl1pPr algn="l" rtl="0" fontAlgn="base">
              <a:lnSpc>
                <a:spcPct val="100000"/>
              </a:lnSpc>
              <a:spcBef>
                <a:spcPct val="0"/>
              </a:spcBef>
              <a:spcAft>
                <a:spcPct val="0"/>
              </a:spcAft>
              <a:defRPr lang="en-US" sz="10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7" name="Slide Number Placeholder 5"/>
          <p:cNvSpPr>
            <a:spLocks noGrp="1"/>
          </p:cNvSpPr>
          <p:nvPr>
            <p:ph type="sldNum" sz="quarter" idx="21"/>
          </p:nvPr>
        </p:nvSpPr>
        <p:spPr>
          <a:xfrm>
            <a:off x="502287" y="7477343"/>
            <a:ext cx="504508" cy="142135"/>
          </a:xfrm>
          <a:prstGeom prst="rect">
            <a:avLst/>
          </a:prstGeom>
        </p:spPr>
        <p:txBody>
          <a:bodyPr lIns="91430" tIns="45714" rIns="91430" bIns="45714"/>
          <a:lstStyle>
            <a:lvl1pPr>
              <a:defRPr/>
            </a:lvl1pPr>
          </a:lstStyle>
          <a:p>
            <a:pPr>
              <a:defRPr/>
            </a:pPr>
            <a:fld id="{880CD1B7-698D-483D-8326-EAE33D7F3A37}" type="slidenum">
              <a:rPr lang="en-US">
                <a:solidFill>
                  <a:srgbClr val="002776"/>
                </a:solidFill>
              </a:rPr>
              <a:pPr>
                <a:defRPr/>
              </a:pPr>
              <a:t>‹#›</a:t>
            </a:fld>
            <a:endParaRPr lang="en-US" dirty="0">
              <a:solidFill>
                <a:srgbClr val="002776"/>
              </a:solidFill>
            </a:endParaRPr>
          </a:p>
        </p:txBody>
      </p:sp>
      <p:sp>
        <p:nvSpPr>
          <p:cNvPr id="8" name="Footer Placeholder 2"/>
          <p:cNvSpPr>
            <a:spLocks noGrp="1"/>
          </p:cNvSpPr>
          <p:nvPr>
            <p:ph type="ftr" sz="quarter" idx="22"/>
          </p:nvPr>
        </p:nvSpPr>
        <p:spPr>
          <a:xfrm>
            <a:off x="1011238" y="7477337"/>
            <a:ext cx="4053840" cy="151130"/>
          </a:xfrm>
          <a:prstGeom prst="rect">
            <a:avLst/>
          </a:prstGeom>
        </p:spPr>
        <p:txBody>
          <a:bodyPr lIns="91430" tIns="45714" rIns="91430" bIns="45714"/>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34023096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graphs">
    <p:spTree>
      <p:nvGrpSpPr>
        <p:cNvPr id="1" name=""/>
        <p:cNvGrpSpPr/>
        <p:nvPr/>
      </p:nvGrpSpPr>
      <p:grpSpPr>
        <a:xfrm>
          <a:off x="0" y="0"/>
          <a:ext cx="0" cy="0"/>
          <a:chOff x="0" y="0"/>
          <a:chExt cx="0" cy="0"/>
        </a:xfrm>
      </p:grpSpPr>
      <p:sp>
        <p:nvSpPr>
          <p:cNvPr id="9" name="Title 1"/>
          <p:cNvSpPr>
            <a:spLocks noGrp="1"/>
          </p:cNvSpPr>
          <p:nvPr>
            <p:ph type="title"/>
          </p:nvPr>
        </p:nvSpPr>
        <p:spPr>
          <a:xfrm>
            <a:off x="504000" y="502484"/>
            <a:ext cx="11793600" cy="423193"/>
          </a:xfrm>
        </p:spPr>
        <p:txBody>
          <a:bodyPr/>
          <a:lstStyle>
            <a:lvl1pPr>
              <a:defRPr>
                <a:solidFill>
                  <a:schemeClr val="tx2"/>
                </a:solidFill>
              </a:defRPr>
            </a:lvl1pPr>
          </a:lstStyle>
          <a:p>
            <a:r>
              <a:rPr lang="en-US" noProof="0" smtClean="0"/>
              <a:t>Click to edit Master title style</a:t>
            </a:r>
            <a:endParaRPr lang="en-US" noProof="0" dirty="0"/>
          </a:p>
        </p:txBody>
      </p:sp>
      <p:sp>
        <p:nvSpPr>
          <p:cNvPr id="10" name="Subtitle4"/>
          <p:cNvSpPr>
            <a:spLocks noGrp="1"/>
          </p:cNvSpPr>
          <p:nvPr>
            <p:ph type="body" idx="14"/>
          </p:nvPr>
        </p:nvSpPr>
        <p:spPr>
          <a:xfrm>
            <a:off x="502285" y="867201"/>
            <a:ext cx="11793600" cy="400110"/>
          </a:xfrm>
        </p:spPr>
        <p:txBody>
          <a:bodyPr rtlCol="0">
            <a:spAutoFit/>
          </a:bodyPr>
          <a:lstStyle>
            <a:lvl1pPr marL="0" indent="0" algn="l" defTabSz="1174991" rtl="0" eaLnBrk="1" latinLnBrk="0" hangingPunct="1">
              <a:spcBef>
                <a:spcPct val="0"/>
              </a:spcBef>
              <a:buNone/>
              <a:defRPr lang="en-US" sz="2600" b="0" kern="1200" dirty="0" smtClean="0">
                <a:solidFill>
                  <a:schemeClr val="tx2"/>
                </a:solidFill>
                <a:latin typeface="+mn-lt"/>
                <a:ea typeface="+mj-ea"/>
                <a:cs typeface="+mj-cs"/>
              </a:defRPr>
            </a:lvl1pPr>
            <a:lvl2pPr marL="587494" indent="0">
              <a:buNone/>
              <a:defRPr sz="2600" b="1"/>
            </a:lvl2pPr>
            <a:lvl3pPr marL="1174991" indent="0">
              <a:buNone/>
              <a:defRPr sz="2300" b="1"/>
            </a:lvl3pPr>
            <a:lvl4pPr marL="1762488" indent="0">
              <a:buNone/>
              <a:defRPr sz="2100" b="1"/>
            </a:lvl4pPr>
            <a:lvl5pPr marL="2349983" indent="0">
              <a:buNone/>
              <a:defRPr sz="2100" b="1"/>
            </a:lvl5pPr>
            <a:lvl6pPr marL="2937477" indent="0">
              <a:buNone/>
              <a:defRPr sz="2100" b="1"/>
            </a:lvl6pPr>
            <a:lvl7pPr marL="3524973" indent="0">
              <a:buNone/>
              <a:defRPr sz="2100" b="1"/>
            </a:lvl7pPr>
            <a:lvl8pPr marL="4112468" indent="0">
              <a:buNone/>
              <a:defRPr sz="2100" b="1"/>
            </a:lvl8pPr>
            <a:lvl9pPr marL="4699965" indent="0">
              <a:buNone/>
              <a:defRPr sz="2100" b="1"/>
            </a:lvl9pPr>
          </a:lstStyle>
          <a:p>
            <a:pPr lvl="0"/>
            <a:r>
              <a:rPr lang="en-US" noProof="0" smtClean="0"/>
              <a:t>Click to edit Master text styles</a:t>
            </a:r>
          </a:p>
        </p:txBody>
      </p:sp>
      <p:sp>
        <p:nvSpPr>
          <p:cNvPr id="30" name="Text Placeholder 11"/>
          <p:cNvSpPr>
            <a:spLocks noGrp="1"/>
          </p:cNvSpPr>
          <p:nvPr>
            <p:ph type="body" sz="quarter" idx="17"/>
          </p:nvPr>
        </p:nvSpPr>
        <p:spPr bwMode="gray">
          <a:xfrm>
            <a:off x="502285" y="1437541"/>
            <a:ext cx="5647373" cy="353943"/>
          </a:xfrm>
          <a:prstGeom prst="rect">
            <a:avLst/>
          </a:prstGeom>
        </p:spPr>
        <p:txBody>
          <a:bodyPr>
            <a:spAutoFit/>
          </a:bodyPr>
          <a:lstStyle>
            <a:lvl1pPr>
              <a:defRPr sz="2300" b="1">
                <a:latin typeface="+mn-lt"/>
              </a:defRPr>
            </a:lvl1pPr>
          </a:lstStyle>
          <a:p>
            <a:pPr lvl="0"/>
            <a:r>
              <a:rPr lang="en-US" smtClean="0"/>
              <a:t>Click to edit Master text styles</a:t>
            </a:r>
          </a:p>
        </p:txBody>
      </p:sp>
      <p:sp>
        <p:nvSpPr>
          <p:cNvPr id="32" name="Content Placeholder 2"/>
          <p:cNvSpPr>
            <a:spLocks noGrp="1"/>
          </p:cNvSpPr>
          <p:nvPr>
            <p:ph idx="19"/>
          </p:nvPr>
        </p:nvSpPr>
        <p:spPr>
          <a:xfrm>
            <a:off x="502285" y="1943087"/>
            <a:ext cx="5647373" cy="1933863"/>
          </a:xfrm>
        </p:spPr>
        <p:txBody>
          <a:bodyPr/>
          <a:lstStyle>
            <a:lvl1pPr>
              <a:spcBef>
                <a:spcPts val="1286"/>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5" name="Text Placeholder 13"/>
          <p:cNvSpPr>
            <a:spLocks noGrp="1"/>
          </p:cNvSpPr>
          <p:nvPr>
            <p:ph type="body" sz="quarter" idx="20"/>
          </p:nvPr>
        </p:nvSpPr>
        <p:spPr bwMode="gray">
          <a:xfrm>
            <a:off x="502285" y="6996004"/>
            <a:ext cx="5647373" cy="153888"/>
          </a:xfrm>
          <a:prstGeom prst="rect">
            <a:avLst/>
          </a:prstGeom>
          <a:noFill/>
          <a:ln w="12700" algn="ctr">
            <a:noFill/>
            <a:miter lim="800000"/>
            <a:headEnd/>
            <a:tailEnd/>
          </a:ln>
        </p:spPr>
        <p:txBody>
          <a:bodyPr anchor="b">
            <a:spAutoFit/>
          </a:bodyPr>
          <a:lstStyle>
            <a:lvl1pPr algn="l" rtl="0" fontAlgn="base">
              <a:lnSpc>
                <a:spcPct val="100000"/>
              </a:lnSpc>
              <a:spcBef>
                <a:spcPct val="0"/>
              </a:spcBef>
              <a:spcAft>
                <a:spcPct val="0"/>
              </a:spcAft>
              <a:defRPr lang="en-US" sz="10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29" name="Text Placeholder 11"/>
          <p:cNvSpPr>
            <a:spLocks noGrp="1"/>
          </p:cNvSpPr>
          <p:nvPr>
            <p:ph type="body" sz="quarter" idx="21"/>
          </p:nvPr>
        </p:nvSpPr>
        <p:spPr bwMode="gray">
          <a:xfrm>
            <a:off x="6651945" y="1437541"/>
            <a:ext cx="5647370" cy="353943"/>
          </a:xfrm>
          <a:prstGeom prst="rect">
            <a:avLst/>
          </a:prstGeom>
        </p:spPr>
        <p:txBody>
          <a:bodyPr>
            <a:spAutoFit/>
          </a:bodyPr>
          <a:lstStyle>
            <a:lvl1pPr>
              <a:defRPr sz="2300" b="1">
                <a:latin typeface="+mn-lt"/>
              </a:defRPr>
            </a:lvl1pPr>
          </a:lstStyle>
          <a:p>
            <a:pPr lvl="0"/>
            <a:r>
              <a:rPr lang="en-US" smtClean="0"/>
              <a:t>Click to edit Master text styles</a:t>
            </a:r>
          </a:p>
        </p:txBody>
      </p:sp>
      <p:sp>
        <p:nvSpPr>
          <p:cNvPr id="33" name="Content Placeholder 2"/>
          <p:cNvSpPr>
            <a:spLocks noGrp="1"/>
          </p:cNvSpPr>
          <p:nvPr>
            <p:ph idx="22"/>
          </p:nvPr>
        </p:nvSpPr>
        <p:spPr>
          <a:xfrm>
            <a:off x="6651942" y="1943087"/>
            <a:ext cx="5647373" cy="1933863"/>
          </a:xfrm>
        </p:spPr>
        <p:txBody>
          <a:bodyPr/>
          <a:lstStyle>
            <a:lvl1pPr>
              <a:spcBef>
                <a:spcPts val="1286"/>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1" name="Text Placeholder 13"/>
          <p:cNvSpPr>
            <a:spLocks noGrp="1"/>
          </p:cNvSpPr>
          <p:nvPr>
            <p:ph type="body" sz="quarter" idx="23"/>
          </p:nvPr>
        </p:nvSpPr>
        <p:spPr bwMode="gray">
          <a:xfrm>
            <a:off x="6651945" y="6996004"/>
            <a:ext cx="5647372" cy="153888"/>
          </a:xfrm>
          <a:prstGeom prst="rect">
            <a:avLst/>
          </a:prstGeom>
          <a:noFill/>
          <a:ln w="12700" algn="ctr">
            <a:noFill/>
            <a:miter lim="800000"/>
            <a:headEnd/>
            <a:tailEnd/>
          </a:ln>
        </p:spPr>
        <p:txBody>
          <a:bodyPr anchor="b">
            <a:spAutoFit/>
          </a:bodyPr>
          <a:lstStyle>
            <a:lvl1pPr algn="l" rtl="0" fontAlgn="base">
              <a:lnSpc>
                <a:spcPct val="100000"/>
              </a:lnSpc>
              <a:spcBef>
                <a:spcPct val="0"/>
              </a:spcBef>
              <a:spcAft>
                <a:spcPct val="0"/>
              </a:spcAft>
              <a:defRPr lang="en-US" sz="10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1" name="Slide Number Placeholder 5"/>
          <p:cNvSpPr>
            <a:spLocks noGrp="1"/>
          </p:cNvSpPr>
          <p:nvPr>
            <p:ph type="sldNum" sz="quarter" idx="24"/>
          </p:nvPr>
        </p:nvSpPr>
        <p:spPr>
          <a:xfrm>
            <a:off x="502287" y="7477343"/>
            <a:ext cx="504508" cy="142135"/>
          </a:xfrm>
          <a:prstGeom prst="rect">
            <a:avLst/>
          </a:prstGeom>
        </p:spPr>
        <p:txBody>
          <a:bodyPr lIns="91430" tIns="45714" rIns="91430" bIns="45714"/>
          <a:lstStyle>
            <a:lvl1pPr>
              <a:defRPr/>
            </a:lvl1pPr>
          </a:lstStyle>
          <a:p>
            <a:pPr>
              <a:defRPr/>
            </a:pPr>
            <a:fld id="{01FBE521-3601-4DD6-8D5B-7E0B3D35F2E1}" type="slidenum">
              <a:rPr lang="en-US">
                <a:solidFill>
                  <a:srgbClr val="002776"/>
                </a:solidFill>
              </a:rPr>
              <a:pPr>
                <a:defRPr/>
              </a:pPr>
              <a:t>‹#›</a:t>
            </a:fld>
            <a:endParaRPr lang="en-US" dirty="0">
              <a:solidFill>
                <a:srgbClr val="002776"/>
              </a:solidFill>
            </a:endParaRPr>
          </a:p>
        </p:txBody>
      </p:sp>
      <p:sp>
        <p:nvSpPr>
          <p:cNvPr id="12" name="Footer Placeholder 2"/>
          <p:cNvSpPr>
            <a:spLocks noGrp="1"/>
          </p:cNvSpPr>
          <p:nvPr>
            <p:ph type="ftr" sz="quarter" idx="25"/>
          </p:nvPr>
        </p:nvSpPr>
        <p:spPr>
          <a:xfrm>
            <a:off x="1011238" y="7477337"/>
            <a:ext cx="4053840" cy="151130"/>
          </a:xfrm>
          <a:prstGeom prst="rect">
            <a:avLst/>
          </a:prstGeom>
        </p:spPr>
        <p:txBody>
          <a:bodyPr lIns="91430" tIns="45714" rIns="91430" bIns="45714"/>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14190690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34" name="Subtitle5"/>
          <p:cNvSpPr>
            <a:spLocks noGrp="1"/>
          </p:cNvSpPr>
          <p:nvPr>
            <p:ph type="body" idx="17"/>
          </p:nvPr>
        </p:nvSpPr>
        <p:spPr>
          <a:xfrm>
            <a:off x="502285" y="867201"/>
            <a:ext cx="11793600" cy="400110"/>
          </a:xfrm>
        </p:spPr>
        <p:txBody>
          <a:bodyPr rtlCol="0">
            <a:spAutoFit/>
          </a:bodyPr>
          <a:lstStyle>
            <a:lvl1pPr marL="0" indent="0" algn="l" defTabSz="1174991" rtl="0" eaLnBrk="1" latinLnBrk="0" hangingPunct="1">
              <a:spcBef>
                <a:spcPct val="0"/>
              </a:spcBef>
              <a:buNone/>
              <a:defRPr lang="en-US" sz="2600" b="0" kern="1200" dirty="0" smtClean="0">
                <a:solidFill>
                  <a:schemeClr val="tx2"/>
                </a:solidFill>
                <a:latin typeface="+mn-lt"/>
                <a:ea typeface="+mj-ea"/>
                <a:cs typeface="+mj-cs"/>
              </a:defRPr>
            </a:lvl1pPr>
            <a:lvl2pPr marL="587494" indent="0">
              <a:buNone/>
              <a:defRPr sz="2600" b="1"/>
            </a:lvl2pPr>
            <a:lvl3pPr marL="1174991" indent="0">
              <a:buNone/>
              <a:defRPr sz="2300" b="1"/>
            </a:lvl3pPr>
            <a:lvl4pPr marL="1762488" indent="0">
              <a:buNone/>
              <a:defRPr sz="2100" b="1"/>
            </a:lvl4pPr>
            <a:lvl5pPr marL="2349983" indent="0">
              <a:buNone/>
              <a:defRPr sz="2100" b="1"/>
            </a:lvl5pPr>
            <a:lvl6pPr marL="2937477" indent="0">
              <a:buNone/>
              <a:defRPr sz="2100" b="1"/>
            </a:lvl6pPr>
            <a:lvl7pPr marL="3524973" indent="0">
              <a:buNone/>
              <a:defRPr sz="2100" b="1"/>
            </a:lvl7pPr>
            <a:lvl8pPr marL="4112468" indent="0">
              <a:buNone/>
              <a:defRPr sz="2100" b="1"/>
            </a:lvl8pPr>
            <a:lvl9pPr marL="4699965" indent="0">
              <a:buNone/>
              <a:defRPr sz="2100" b="1"/>
            </a:lvl9pPr>
          </a:lstStyle>
          <a:p>
            <a:pPr lvl="0"/>
            <a:r>
              <a:rPr lang="en-US" noProof="0" smtClean="0"/>
              <a:t>Click to edit Master text styles</a:t>
            </a:r>
          </a:p>
        </p:txBody>
      </p:sp>
      <p:sp>
        <p:nvSpPr>
          <p:cNvPr id="4" name="Slide Number Placeholder 5"/>
          <p:cNvSpPr>
            <a:spLocks noGrp="1"/>
          </p:cNvSpPr>
          <p:nvPr>
            <p:ph type="sldNum" sz="quarter" idx="18"/>
          </p:nvPr>
        </p:nvSpPr>
        <p:spPr>
          <a:xfrm>
            <a:off x="502287" y="7477343"/>
            <a:ext cx="504508" cy="142135"/>
          </a:xfrm>
          <a:prstGeom prst="rect">
            <a:avLst/>
          </a:prstGeom>
        </p:spPr>
        <p:txBody>
          <a:bodyPr lIns="91430" tIns="45714" rIns="91430" bIns="45714"/>
          <a:lstStyle>
            <a:lvl1pPr>
              <a:defRPr/>
            </a:lvl1pPr>
          </a:lstStyle>
          <a:p>
            <a:pPr>
              <a:defRPr/>
            </a:pPr>
            <a:fld id="{62A1693A-6ABA-425D-9C04-9936C132DB1F}"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7594738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ivider - white">
    <p:spTree>
      <p:nvGrpSpPr>
        <p:cNvPr id="1" name=""/>
        <p:cNvGrpSpPr/>
        <p:nvPr/>
      </p:nvGrpSpPr>
      <p:grpSpPr>
        <a:xfrm>
          <a:off x="0" y="0"/>
          <a:ext cx="0" cy="0"/>
          <a:chOff x="0" y="0"/>
          <a:chExt cx="0" cy="0"/>
        </a:xfrm>
      </p:grpSpPr>
      <p:sp>
        <p:nvSpPr>
          <p:cNvPr id="3" name="Rectangle 2"/>
          <p:cNvSpPr/>
          <p:nvPr userDrawn="1"/>
        </p:nvSpPr>
        <p:spPr>
          <a:xfrm>
            <a:off x="0" y="0"/>
            <a:ext cx="12801600" cy="7772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17500" tIns="58750" rIns="117500" bIns="58750" anchor="ctr"/>
          <a:lstStyle/>
          <a:p>
            <a:pPr>
              <a:spcBef>
                <a:spcPct val="0"/>
              </a:spcBef>
              <a:defRPr/>
            </a:pPr>
            <a:endParaRPr lang="en-US" sz="1800" b="0" dirty="0">
              <a:solidFill>
                <a:srgbClr val="FFFFFF"/>
              </a:solidFill>
              <a:cs typeface="Arial" charset="0"/>
            </a:endParaRPr>
          </a:p>
        </p:txBody>
      </p:sp>
      <p:sp>
        <p:nvSpPr>
          <p:cNvPr id="11" name="Title 1"/>
          <p:cNvSpPr>
            <a:spLocks noGrp="1"/>
          </p:cNvSpPr>
          <p:nvPr>
            <p:ph type="ctrTitle"/>
          </p:nvPr>
        </p:nvSpPr>
        <p:spPr>
          <a:xfrm>
            <a:off x="502285" y="3058572"/>
            <a:ext cx="11793600" cy="667106"/>
          </a:xfrm>
        </p:spPr>
        <p:txBody>
          <a:bodyPr/>
          <a:lstStyle>
            <a:lvl1pPr algn="l">
              <a:lnSpc>
                <a:spcPct val="85000"/>
              </a:lnSpc>
              <a:defRPr sz="5100" b="0">
                <a:solidFill>
                  <a:schemeClr val="tx2"/>
                </a:solidFill>
                <a:latin typeface="+mj-lt"/>
                <a:cs typeface="Times New Roman" pitchFamily="18" charset="0"/>
              </a:defRPr>
            </a:lvl1pPr>
          </a:lstStyle>
          <a:p>
            <a:r>
              <a:rPr lang="en-US" noProof="0" smtClean="0"/>
              <a:t>Click to edit Master title style</a:t>
            </a:r>
            <a:endParaRPr lang="en-US" noProof="0" dirty="0"/>
          </a:p>
        </p:txBody>
      </p:sp>
      <p:sp>
        <p:nvSpPr>
          <p:cNvPr id="4" name="Slide Number Placeholder 5"/>
          <p:cNvSpPr>
            <a:spLocks noGrp="1"/>
          </p:cNvSpPr>
          <p:nvPr>
            <p:ph type="sldNum" sz="quarter" idx="10"/>
          </p:nvPr>
        </p:nvSpPr>
        <p:spPr>
          <a:xfrm>
            <a:off x="502287" y="7477343"/>
            <a:ext cx="504508" cy="142135"/>
          </a:xfrm>
          <a:prstGeom prst="rect">
            <a:avLst/>
          </a:prstGeom>
        </p:spPr>
        <p:txBody>
          <a:bodyPr lIns="91430" tIns="45714" rIns="91430" bIns="45714"/>
          <a:lstStyle>
            <a:lvl1pPr>
              <a:defRPr>
                <a:solidFill>
                  <a:schemeClr val="bg1"/>
                </a:solidFill>
              </a:defRPr>
            </a:lvl1pPr>
          </a:lstStyle>
          <a:p>
            <a:pPr>
              <a:defRPr/>
            </a:pPr>
            <a:fld id="{DDB6951C-2A13-4A7C-9D38-DFE77E222DE0}"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2998097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London 2012 - Horse Guard Parade">
    <p:spTree>
      <p:nvGrpSpPr>
        <p:cNvPr id="1" name=""/>
        <p:cNvGrpSpPr/>
        <p:nvPr/>
      </p:nvGrpSpPr>
      <p:grpSpPr>
        <a:xfrm>
          <a:off x="0" y="0"/>
          <a:ext cx="0" cy="0"/>
          <a:chOff x="0" y="0"/>
          <a:chExt cx="0" cy="0"/>
        </a:xfrm>
      </p:grpSpPr>
      <p:pic>
        <p:nvPicPr>
          <p:cNvPr id="2" name="Picture 6" descr="10118A Posters Cov-1.jpg"/>
          <p:cNvPicPr>
            <a:picLocks noChangeAspect="1"/>
          </p:cNvPicPr>
          <p:nvPr userDrawn="1"/>
        </p:nvPicPr>
        <p:blipFill>
          <a:blip r:embed="rId2"/>
          <a:srcRect/>
          <a:stretch>
            <a:fillRect/>
          </a:stretch>
        </p:blipFill>
        <p:spPr bwMode="auto">
          <a:xfrm>
            <a:off x="7509830" y="0"/>
            <a:ext cx="5291772" cy="7772400"/>
          </a:xfrm>
          <a:prstGeom prst="rect">
            <a:avLst/>
          </a:prstGeom>
          <a:noFill/>
          <a:ln w="9525">
            <a:noFill/>
            <a:miter lim="800000"/>
            <a:headEnd/>
            <a:tailEnd/>
          </a:ln>
        </p:spPr>
      </p:pic>
      <p:sp>
        <p:nvSpPr>
          <p:cNvPr id="3" name="TextBox 10"/>
          <p:cNvSpPr txBox="1">
            <a:spLocks noChangeArrowheads="1"/>
          </p:cNvSpPr>
          <p:nvPr userDrawn="1"/>
        </p:nvSpPr>
        <p:spPr bwMode="auto">
          <a:xfrm>
            <a:off x="668973" y="3155737"/>
            <a:ext cx="6285230" cy="1107996"/>
          </a:xfrm>
          <a:prstGeom prst="rect">
            <a:avLst/>
          </a:prstGeom>
          <a:solidFill>
            <a:schemeClr val="bg1"/>
          </a:solidFill>
          <a:ln>
            <a:noFill/>
          </a:ln>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spcAft>
                <a:spcPts val="386"/>
              </a:spcAft>
              <a:defRPr/>
            </a:pPr>
            <a:r>
              <a:rPr lang="en-GB" sz="1800" b="0" dirty="0" smtClean="0">
                <a:solidFill>
                  <a:srgbClr val="00A1DE"/>
                </a:solidFill>
                <a:latin typeface="Times New Roman" pitchFamily="18" charset="0"/>
              </a:rPr>
              <a:t>The final grain of sand is poured into the Beach Volleyball Court on Horse Guards Parade.  </a:t>
            </a:r>
            <a:br>
              <a:rPr lang="en-GB" sz="1800" b="0" dirty="0" smtClean="0">
                <a:solidFill>
                  <a:srgbClr val="00A1DE"/>
                </a:solidFill>
                <a:latin typeface="Times New Roman" pitchFamily="18" charset="0"/>
              </a:rPr>
            </a:br>
            <a:r>
              <a:rPr lang="en-GB" sz="1800" b="0" dirty="0" smtClean="0">
                <a:solidFill>
                  <a:srgbClr val="00A1DE"/>
                </a:solidFill>
                <a:latin typeface="Times New Roman" pitchFamily="18" charset="0"/>
              </a:rPr>
              <a:t>An unforgettable  London 2012 venue, project managed from start to finish by Drivers Jonas Deloitte.</a:t>
            </a:r>
          </a:p>
        </p:txBody>
      </p:sp>
      <p:cxnSp>
        <p:nvCxnSpPr>
          <p:cNvPr id="4" name="Straight Connector 3"/>
          <p:cNvCxnSpPr/>
          <p:nvPr userDrawn="1"/>
        </p:nvCxnSpPr>
        <p:spPr>
          <a:xfrm>
            <a:off x="668973" y="3047793"/>
            <a:ext cx="6745287" cy="1439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Box 12"/>
          <p:cNvSpPr txBox="1">
            <a:spLocks noChangeArrowheads="1"/>
          </p:cNvSpPr>
          <p:nvPr userDrawn="1"/>
        </p:nvSpPr>
        <p:spPr bwMode="auto">
          <a:xfrm>
            <a:off x="668973" y="4918922"/>
            <a:ext cx="3936047" cy="215444"/>
          </a:xfrm>
          <a:prstGeom prst="rect">
            <a:avLst/>
          </a:prstGeom>
          <a:noFill/>
          <a:ln>
            <a:noFill/>
          </a:ln>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spcAft>
                <a:spcPts val="386"/>
              </a:spcAft>
              <a:defRPr/>
            </a:pPr>
            <a:r>
              <a:rPr lang="en-GB" sz="1400" dirty="0" smtClean="0">
                <a:solidFill>
                  <a:srgbClr val="92D400"/>
                </a:solidFill>
              </a:rPr>
              <a:t>Deloitte. Supporting moments that matter</a:t>
            </a:r>
          </a:p>
        </p:txBody>
      </p:sp>
      <p:pic>
        <p:nvPicPr>
          <p:cNvPr id="6" name="Picture 3" descr="10118A Posters Cov-2.jpg"/>
          <p:cNvPicPr>
            <a:picLocks noChangeAspect="1"/>
          </p:cNvPicPr>
          <p:nvPr userDrawn="1"/>
        </p:nvPicPr>
        <p:blipFill>
          <a:blip r:embed="rId2"/>
          <a:srcRect/>
          <a:stretch>
            <a:fillRect/>
          </a:stretch>
        </p:blipFill>
        <p:spPr bwMode="auto">
          <a:xfrm>
            <a:off x="2231" y="1800"/>
            <a:ext cx="3418205" cy="1421342"/>
          </a:xfrm>
          <a:prstGeom prst="rect">
            <a:avLst/>
          </a:prstGeom>
          <a:noFill/>
          <a:ln w="9525">
            <a:noFill/>
            <a:miter lim="800000"/>
            <a:headEnd/>
            <a:tailEnd/>
          </a:ln>
        </p:spPr>
      </p:pic>
    </p:spTree>
    <p:extLst>
      <p:ext uri="{BB962C8B-B14F-4D97-AF65-F5344CB8AC3E}">
        <p14:creationId xmlns:p14="http://schemas.microsoft.com/office/powerpoint/2010/main" val="207606379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ondon 2012 - Sarah Storey">
    <p:spTree>
      <p:nvGrpSpPr>
        <p:cNvPr id="1" name=""/>
        <p:cNvGrpSpPr/>
        <p:nvPr/>
      </p:nvGrpSpPr>
      <p:grpSpPr>
        <a:xfrm>
          <a:off x="0" y="0"/>
          <a:ext cx="0" cy="0"/>
          <a:chOff x="0" y="0"/>
          <a:chExt cx="0" cy="0"/>
        </a:xfrm>
      </p:grpSpPr>
      <p:pic>
        <p:nvPicPr>
          <p:cNvPr id="2" name="Picture 3" descr="10118A Posters Cov-2.jpg"/>
          <p:cNvPicPr>
            <a:picLocks noChangeAspect="1"/>
          </p:cNvPicPr>
          <p:nvPr userDrawn="1"/>
        </p:nvPicPr>
        <p:blipFill>
          <a:blip r:embed="rId2"/>
          <a:srcRect/>
          <a:stretch>
            <a:fillRect/>
          </a:stretch>
        </p:blipFill>
        <p:spPr bwMode="auto">
          <a:xfrm>
            <a:off x="5311783" y="0"/>
            <a:ext cx="7489825" cy="7772400"/>
          </a:xfrm>
          <a:prstGeom prst="rect">
            <a:avLst/>
          </a:prstGeom>
          <a:noFill/>
          <a:ln w="9525">
            <a:noFill/>
            <a:miter lim="800000"/>
            <a:headEnd/>
            <a:tailEnd/>
          </a:ln>
        </p:spPr>
      </p:pic>
      <p:sp>
        <p:nvSpPr>
          <p:cNvPr id="3" name="TextBox 10"/>
          <p:cNvSpPr txBox="1">
            <a:spLocks noChangeArrowheads="1"/>
          </p:cNvSpPr>
          <p:nvPr userDrawn="1"/>
        </p:nvSpPr>
        <p:spPr bwMode="auto">
          <a:xfrm>
            <a:off x="648970" y="3186329"/>
            <a:ext cx="4376103" cy="1661993"/>
          </a:xfrm>
          <a:prstGeom prst="rect">
            <a:avLst/>
          </a:prstGeom>
          <a:solidFill>
            <a:schemeClr val="bg1"/>
          </a:solidFill>
          <a:ln>
            <a:noFill/>
          </a:ln>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spcAft>
                <a:spcPts val="386"/>
              </a:spcAft>
              <a:defRPr/>
            </a:pPr>
            <a:r>
              <a:rPr lang="en-GB" sz="1800" b="0" dirty="0" smtClean="0">
                <a:solidFill>
                  <a:srgbClr val="00A1DE"/>
                </a:solidFill>
                <a:latin typeface="Times New Roman" pitchFamily="18" charset="0"/>
              </a:rPr>
              <a:t>Three Minutes, 19.757 seconds. Track Cycling World Cup gold for Sarah Storey, Deloitte’s London 2012 Ambassador, and one step closer to making history as the first GB athlete to compete in both the Olympic and Paralympic Games.</a:t>
            </a:r>
          </a:p>
        </p:txBody>
      </p:sp>
      <p:cxnSp>
        <p:nvCxnSpPr>
          <p:cNvPr id="4" name="Straight Connector 3"/>
          <p:cNvCxnSpPr/>
          <p:nvPr userDrawn="1"/>
        </p:nvCxnSpPr>
        <p:spPr>
          <a:xfrm flipV="1">
            <a:off x="635635" y="3047789"/>
            <a:ext cx="4447223" cy="359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Box 12"/>
          <p:cNvSpPr txBox="1">
            <a:spLocks noChangeArrowheads="1"/>
          </p:cNvSpPr>
          <p:nvPr userDrawn="1"/>
        </p:nvSpPr>
        <p:spPr bwMode="auto">
          <a:xfrm>
            <a:off x="668973" y="5939050"/>
            <a:ext cx="3936047" cy="215444"/>
          </a:xfrm>
          <a:prstGeom prst="rect">
            <a:avLst/>
          </a:prstGeom>
          <a:noFill/>
          <a:ln>
            <a:noFill/>
          </a:ln>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spcAft>
                <a:spcPts val="386"/>
              </a:spcAft>
              <a:defRPr/>
            </a:pPr>
            <a:r>
              <a:rPr lang="en-GB" sz="1400" dirty="0" smtClean="0">
                <a:solidFill>
                  <a:srgbClr val="92D400"/>
                </a:solidFill>
              </a:rPr>
              <a:t>Deloitte. Supporting moments that matter</a:t>
            </a:r>
          </a:p>
        </p:txBody>
      </p:sp>
      <p:pic>
        <p:nvPicPr>
          <p:cNvPr id="6" name="Picture 3" descr="10118A Posters Cov-2.jpg"/>
          <p:cNvPicPr>
            <a:picLocks noChangeAspect="1"/>
          </p:cNvPicPr>
          <p:nvPr userDrawn="1"/>
        </p:nvPicPr>
        <p:blipFill>
          <a:blip r:embed="rId2"/>
          <a:srcRect/>
          <a:stretch>
            <a:fillRect/>
          </a:stretch>
        </p:blipFill>
        <p:spPr bwMode="auto">
          <a:xfrm>
            <a:off x="2231" y="1800"/>
            <a:ext cx="3418205" cy="1421342"/>
          </a:xfrm>
          <a:prstGeom prst="rect">
            <a:avLst/>
          </a:prstGeom>
          <a:noFill/>
          <a:ln w="9525">
            <a:noFill/>
            <a:miter lim="800000"/>
            <a:headEnd/>
            <a:tailEnd/>
          </a:ln>
        </p:spPr>
      </p:pic>
    </p:spTree>
    <p:extLst>
      <p:ext uri="{BB962C8B-B14F-4D97-AF65-F5344CB8AC3E}">
        <p14:creationId xmlns:p14="http://schemas.microsoft.com/office/powerpoint/2010/main" val="100366320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ondon 2012 - Sam Scowen">
    <p:spTree>
      <p:nvGrpSpPr>
        <p:cNvPr id="1" name=""/>
        <p:cNvGrpSpPr/>
        <p:nvPr/>
      </p:nvGrpSpPr>
      <p:grpSpPr>
        <a:xfrm>
          <a:off x="0" y="0"/>
          <a:ext cx="0" cy="0"/>
          <a:chOff x="0" y="0"/>
          <a:chExt cx="0" cy="0"/>
        </a:xfrm>
      </p:grpSpPr>
      <p:pic>
        <p:nvPicPr>
          <p:cNvPr id="2" name="Picture 3" descr="10118A Posters Cov-3.jpg"/>
          <p:cNvPicPr>
            <a:picLocks noChangeAspect="1"/>
          </p:cNvPicPr>
          <p:nvPr userDrawn="1"/>
        </p:nvPicPr>
        <p:blipFill>
          <a:blip r:embed="rId2"/>
          <a:srcRect/>
          <a:stretch>
            <a:fillRect/>
          </a:stretch>
        </p:blipFill>
        <p:spPr bwMode="auto">
          <a:xfrm>
            <a:off x="5196213" y="0"/>
            <a:ext cx="7605395" cy="7772400"/>
          </a:xfrm>
          <a:prstGeom prst="rect">
            <a:avLst/>
          </a:prstGeom>
          <a:noFill/>
          <a:ln w="9525">
            <a:noFill/>
            <a:miter lim="800000"/>
            <a:headEnd/>
            <a:tailEnd/>
          </a:ln>
        </p:spPr>
      </p:pic>
      <p:sp>
        <p:nvSpPr>
          <p:cNvPr id="3" name="TextBox 10"/>
          <p:cNvSpPr txBox="1">
            <a:spLocks noChangeArrowheads="1"/>
          </p:cNvSpPr>
          <p:nvPr userDrawn="1"/>
        </p:nvSpPr>
        <p:spPr bwMode="auto">
          <a:xfrm>
            <a:off x="611188" y="3092768"/>
            <a:ext cx="4433887" cy="1107996"/>
          </a:xfrm>
          <a:prstGeom prst="rect">
            <a:avLst/>
          </a:prstGeom>
          <a:solidFill>
            <a:schemeClr val="bg1"/>
          </a:solidFill>
          <a:ln>
            <a:noFill/>
          </a:ln>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spcAft>
                <a:spcPts val="386"/>
              </a:spcAft>
              <a:defRPr/>
            </a:pPr>
            <a:r>
              <a:rPr lang="en-GB" sz="1800" b="0" dirty="0" smtClean="0">
                <a:solidFill>
                  <a:srgbClr val="00A1DE"/>
                </a:solidFill>
                <a:latin typeface="Times New Roman" pitchFamily="18" charset="0"/>
              </a:rPr>
              <a:t>Sam Scowen wins Munich World Cup gold, less than two years after taking up adaptive rowing. She found a club and discovered her talent through Deloitte Parasport.</a:t>
            </a:r>
          </a:p>
        </p:txBody>
      </p:sp>
      <p:cxnSp>
        <p:nvCxnSpPr>
          <p:cNvPr id="4" name="Straight Connector 3"/>
          <p:cNvCxnSpPr/>
          <p:nvPr userDrawn="1"/>
        </p:nvCxnSpPr>
        <p:spPr>
          <a:xfrm flipV="1">
            <a:off x="631190" y="2954232"/>
            <a:ext cx="4509453"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Box 12"/>
          <p:cNvSpPr txBox="1">
            <a:spLocks noChangeArrowheads="1"/>
          </p:cNvSpPr>
          <p:nvPr userDrawn="1"/>
        </p:nvSpPr>
        <p:spPr bwMode="auto">
          <a:xfrm>
            <a:off x="648972" y="5088044"/>
            <a:ext cx="3936048" cy="215444"/>
          </a:xfrm>
          <a:prstGeom prst="rect">
            <a:avLst/>
          </a:prstGeom>
          <a:noFill/>
          <a:ln>
            <a:noFill/>
          </a:ln>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spcAft>
                <a:spcPts val="386"/>
              </a:spcAft>
              <a:defRPr/>
            </a:pPr>
            <a:r>
              <a:rPr lang="en-GB" sz="1400" dirty="0" smtClean="0">
                <a:solidFill>
                  <a:srgbClr val="92D400"/>
                </a:solidFill>
              </a:rPr>
              <a:t>Deloitte. Supporting moments that matter</a:t>
            </a:r>
          </a:p>
        </p:txBody>
      </p:sp>
      <p:pic>
        <p:nvPicPr>
          <p:cNvPr id="6" name="Picture 3" descr="10118A Posters Cov-2.jpg"/>
          <p:cNvPicPr>
            <a:picLocks noChangeAspect="1"/>
          </p:cNvPicPr>
          <p:nvPr userDrawn="1"/>
        </p:nvPicPr>
        <p:blipFill>
          <a:blip r:embed="rId2"/>
          <a:srcRect/>
          <a:stretch>
            <a:fillRect/>
          </a:stretch>
        </p:blipFill>
        <p:spPr bwMode="auto">
          <a:xfrm>
            <a:off x="2231" y="1800"/>
            <a:ext cx="3418205" cy="1421342"/>
          </a:xfrm>
          <a:prstGeom prst="rect">
            <a:avLst/>
          </a:prstGeom>
          <a:noFill/>
          <a:ln w="9525">
            <a:noFill/>
            <a:miter lim="800000"/>
            <a:headEnd/>
            <a:tailEnd/>
          </a:ln>
        </p:spPr>
      </p:pic>
    </p:spTree>
    <p:extLst>
      <p:ext uri="{BB962C8B-B14F-4D97-AF65-F5344CB8AC3E}">
        <p14:creationId xmlns:p14="http://schemas.microsoft.com/office/powerpoint/2010/main" val="386952493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ondon 2012 procurement">
    <p:spTree>
      <p:nvGrpSpPr>
        <p:cNvPr id="1" name=""/>
        <p:cNvGrpSpPr/>
        <p:nvPr/>
      </p:nvGrpSpPr>
      <p:grpSpPr>
        <a:xfrm>
          <a:off x="0" y="0"/>
          <a:ext cx="0" cy="0"/>
          <a:chOff x="0" y="0"/>
          <a:chExt cx="0" cy="0"/>
        </a:xfrm>
      </p:grpSpPr>
      <p:pic>
        <p:nvPicPr>
          <p:cNvPr id="2" name="Picture 3" descr="10118A Posters Cov-4.jpg"/>
          <p:cNvPicPr>
            <a:picLocks noChangeAspect="1"/>
          </p:cNvPicPr>
          <p:nvPr userDrawn="1"/>
        </p:nvPicPr>
        <p:blipFill>
          <a:blip r:embed="rId2"/>
          <a:srcRect/>
          <a:stretch>
            <a:fillRect/>
          </a:stretch>
        </p:blipFill>
        <p:spPr bwMode="auto">
          <a:xfrm>
            <a:off x="7623183" y="0"/>
            <a:ext cx="5178425" cy="7772400"/>
          </a:xfrm>
          <a:prstGeom prst="rect">
            <a:avLst/>
          </a:prstGeom>
          <a:noFill/>
          <a:ln w="9525">
            <a:noFill/>
            <a:miter lim="800000"/>
            <a:headEnd/>
            <a:tailEnd/>
          </a:ln>
        </p:spPr>
      </p:pic>
      <p:sp>
        <p:nvSpPr>
          <p:cNvPr id="3" name="TextBox 10"/>
          <p:cNvSpPr txBox="1">
            <a:spLocks noChangeArrowheads="1"/>
          </p:cNvSpPr>
          <p:nvPr userDrawn="1"/>
        </p:nvSpPr>
        <p:spPr bwMode="auto">
          <a:xfrm>
            <a:off x="631198" y="3170132"/>
            <a:ext cx="6974205" cy="1107996"/>
          </a:xfrm>
          <a:prstGeom prst="rect">
            <a:avLst/>
          </a:prstGeom>
          <a:solidFill>
            <a:schemeClr val="bg1"/>
          </a:solidFill>
          <a:ln>
            <a:noFill/>
          </a:ln>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spcAft>
                <a:spcPts val="386"/>
              </a:spcAft>
              <a:defRPr/>
            </a:pPr>
            <a:r>
              <a:rPr lang="en-GB" sz="1800" b="0" dirty="0" smtClean="0">
                <a:solidFill>
                  <a:srgbClr val="00A1DE"/>
                </a:solidFill>
                <a:latin typeface="Times New Roman" pitchFamily="18" charset="0"/>
              </a:rPr>
              <a:t>The first shuttlecock is to start  the London 2012 Olympic Badminton tournament. It is just one of over one million pieces of sport equipment secured by the LOCOG procurement team; to which 12 Deloitte people have been integral. </a:t>
            </a:r>
          </a:p>
        </p:txBody>
      </p:sp>
      <p:cxnSp>
        <p:nvCxnSpPr>
          <p:cNvPr id="4" name="Straight Connector 3"/>
          <p:cNvCxnSpPr/>
          <p:nvPr userDrawn="1"/>
        </p:nvCxnSpPr>
        <p:spPr>
          <a:xfrm>
            <a:off x="631190" y="3047789"/>
            <a:ext cx="6800850" cy="3058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Box 12"/>
          <p:cNvSpPr txBox="1">
            <a:spLocks noChangeArrowheads="1"/>
          </p:cNvSpPr>
          <p:nvPr userDrawn="1"/>
        </p:nvSpPr>
        <p:spPr bwMode="auto">
          <a:xfrm>
            <a:off x="648972" y="4918922"/>
            <a:ext cx="3936048" cy="215444"/>
          </a:xfrm>
          <a:prstGeom prst="rect">
            <a:avLst/>
          </a:prstGeom>
          <a:noFill/>
          <a:ln>
            <a:noFill/>
          </a:ln>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spcAft>
                <a:spcPts val="386"/>
              </a:spcAft>
              <a:defRPr/>
            </a:pPr>
            <a:r>
              <a:rPr lang="en-GB" sz="1400" dirty="0" smtClean="0">
                <a:solidFill>
                  <a:srgbClr val="92D400"/>
                </a:solidFill>
              </a:rPr>
              <a:t>Deloitte. Supporting moments that matter</a:t>
            </a:r>
          </a:p>
        </p:txBody>
      </p:sp>
      <p:pic>
        <p:nvPicPr>
          <p:cNvPr id="6" name="Picture 3" descr="10118A Posters Cov-2.jpg"/>
          <p:cNvPicPr>
            <a:picLocks noChangeAspect="1"/>
          </p:cNvPicPr>
          <p:nvPr userDrawn="1"/>
        </p:nvPicPr>
        <p:blipFill>
          <a:blip r:embed="rId2"/>
          <a:srcRect/>
          <a:stretch>
            <a:fillRect/>
          </a:stretch>
        </p:blipFill>
        <p:spPr bwMode="auto">
          <a:xfrm>
            <a:off x="2231" y="1800"/>
            <a:ext cx="3418205" cy="1421342"/>
          </a:xfrm>
          <a:prstGeom prst="rect">
            <a:avLst/>
          </a:prstGeom>
          <a:noFill/>
          <a:ln w="9525">
            <a:noFill/>
            <a:miter lim="800000"/>
            <a:headEnd/>
            <a:tailEnd/>
          </a:ln>
        </p:spPr>
      </p:pic>
    </p:spTree>
    <p:extLst>
      <p:ext uri="{BB962C8B-B14F-4D97-AF65-F5344CB8AC3E}">
        <p14:creationId xmlns:p14="http://schemas.microsoft.com/office/powerpoint/2010/main" val="4276209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576090" y="2123014"/>
            <a:ext cx="5598817" cy="1933863"/>
          </a:xfrm>
          <a:prstGeom prst="rect">
            <a:avLst/>
          </a:prstGeom>
        </p:spPr>
        <p:txBody>
          <a:bodyPr/>
          <a:lstStyle>
            <a:lvl1pPr>
              <a:defRPr>
                <a:latin typeface="Calibri" pitchFamily="34" charset="0"/>
              </a:defRPr>
            </a:lvl1pPr>
            <a:lvl2pPr>
              <a:defRPr lang="en-US" sz="2300" kern="1200" dirty="0" smtClean="0">
                <a:solidFill>
                  <a:schemeClr val="tx2"/>
                </a:solidFill>
                <a:latin typeface="Calibri" pitchFamily="34" charset="0"/>
                <a:ea typeface="+mn-ea"/>
                <a:cs typeface="+mn-cs"/>
              </a:defRPr>
            </a:lvl2pPr>
            <a:lvl3pPr>
              <a:defRPr lang="en-US" sz="2100" kern="1200" dirty="0" smtClean="0">
                <a:solidFill>
                  <a:schemeClr val="tx2"/>
                </a:solidFill>
                <a:latin typeface="Calibri" pitchFamily="34" charset="0"/>
                <a:ea typeface="+mn-ea"/>
                <a:cs typeface="+mn-cs"/>
              </a:defRPr>
            </a:lvl3pPr>
            <a:lvl4pPr>
              <a:defRPr lang="en-US" sz="2100" kern="1200" dirty="0" smtClean="0">
                <a:solidFill>
                  <a:schemeClr val="tx2"/>
                </a:solidFill>
                <a:latin typeface="Calibri" pitchFamily="34" charset="0"/>
                <a:ea typeface="+mn-ea"/>
                <a:cs typeface="+mn-cs"/>
              </a:defRPr>
            </a:lvl4pPr>
            <a:lvl5pPr>
              <a:defRPr lang="en-US" sz="2100" kern="1200" dirty="0">
                <a:solidFill>
                  <a:schemeClr val="tx2"/>
                </a:solidFill>
                <a:latin typeface="Calibri"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3"/>
          </p:nvPr>
        </p:nvSpPr>
        <p:spPr bwMode="gray">
          <a:xfrm>
            <a:off x="580073" y="1583268"/>
            <a:ext cx="5594299" cy="353943"/>
          </a:xfrm>
          <a:prstGeom prst="rect">
            <a:avLst/>
          </a:prstGeom>
        </p:spPr>
        <p:txBody>
          <a:bodyPr>
            <a:spAutoFit/>
          </a:bodyPr>
          <a:lstStyle>
            <a:lvl1pPr>
              <a:defRPr sz="2300" b="1">
                <a:latin typeface="Calibri" pitchFamily="34" charset="0"/>
              </a:defRPr>
            </a:lvl1pPr>
          </a:lstStyle>
          <a:p>
            <a:pPr lvl="0"/>
            <a:r>
              <a:rPr lang="en-US" dirty="0" smtClean="0"/>
              <a:t>Click to edit Master text styles</a:t>
            </a:r>
          </a:p>
        </p:txBody>
      </p:sp>
      <p:sp>
        <p:nvSpPr>
          <p:cNvPr id="14" name="Text Placeholder 13"/>
          <p:cNvSpPr>
            <a:spLocks noGrp="1"/>
          </p:cNvSpPr>
          <p:nvPr>
            <p:ph type="body" sz="quarter" idx="15"/>
          </p:nvPr>
        </p:nvSpPr>
        <p:spPr bwMode="gray">
          <a:xfrm>
            <a:off x="576072" y="6965634"/>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rgbClr val="002776"/>
                </a:solidFill>
                <a:latin typeface="Calibri" pitchFamily="34" charset="0"/>
                <a:ea typeface="+mn-ea"/>
                <a:cs typeface="Calibri"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p:txBody>
      </p:sp>
      <p:sp>
        <p:nvSpPr>
          <p:cNvPr id="15" name="Text Placeholder 13"/>
          <p:cNvSpPr>
            <a:spLocks noGrp="1"/>
          </p:cNvSpPr>
          <p:nvPr>
            <p:ph type="body" sz="quarter" idx="16"/>
          </p:nvPr>
        </p:nvSpPr>
        <p:spPr bwMode="gray">
          <a:xfrm>
            <a:off x="6632986" y="6965634"/>
            <a:ext cx="5594299" cy="153888"/>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1000" b="0" kern="1200" smtClean="0">
                <a:solidFill>
                  <a:srgbClr val="002776"/>
                </a:solidFill>
                <a:latin typeface="Calibri" pitchFamily="34" charset="0"/>
                <a:ea typeface="+mn-ea"/>
                <a:cs typeface="Calibri" pitchFamily="34" charset="0"/>
              </a:defRPr>
            </a:lvl1pPr>
            <a:lvl2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10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1000" b="0" kern="1200" dirty="0">
                <a:solidFill>
                  <a:schemeClr val="tx1"/>
                </a:solidFill>
                <a:latin typeface="Arial" pitchFamily="34" charset="0"/>
                <a:ea typeface="+mn-ea"/>
                <a:cs typeface="Arial" pitchFamily="34" charset="0"/>
              </a:defRPr>
            </a:lvl5pPr>
          </a:lstStyle>
          <a:p>
            <a:pPr lvl="0"/>
            <a:r>
              <a:rPr lang="en-US" dirty="0" smtClean="0"/>
              <a:t>Click to edit Master text styles</a:t>
            </a:r>
          </a:p>
        </p:txBody>
      </p:sp>
      <p:sp>
        <p:nvSpPr>
          <p:cNvPr id="17" name="Text Placeholder 18"/>
          <p:cNvSpPr>
            <a:spLocks noGrp="1"/>
          </p:cNvSpPr>
          <p:nvPr>
            <p:ph type="body" sz="quarter" idx="17"/>
          </p:nvPr>
        </p:nvSpPr>
        <p:spPr bwMode="gray">
          <a:xfrm>
            <a:off x="580073" y="883394"/>
            <a:ext cx="11662258" cy="40011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600" b="0" i="0" u="none" strike="noStrike" kern="1200" cap="none" spc="0" normalizeH="0" baseline="0" noProof="0" dirty="0" smtClean="0">
                <a:ln>
                  <a:noFill/>
                </a:ln>
                <a:solidFill>
                  <a:schemeClr val="tx2"/>
                </a:solidFill>
                <a:effectLst/>
                <a:uLnTx/>
                <a:uFillTx/>
                <a:latin typeface="Calibri" pitchFamily="34" charset="0"/>
                <a:ea typeface="+mn-ea"/>
                <a:cs typeface="Calibri" pitchFamily="34" charset="0"/>
              </a:defRPr>
            </a:lvl1pPr>
          </a:lstStyle>
          <a:p>
            <a:pPr marL="0" marR="0" lvl="0" indent="0" algn="l" defTabSz="1173947"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10"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lvl1pPr>
              <a:defRPr>
                <a:latin typeface="Calibri" pitchFamily="34" charset="0"/>
              </a:defRPr>
            </a:lvl1pPr>
          </a:lstStyle>
          <a:p>
            <a:pPr marL="0" marR="0" lvl="0" indent="0" algn="l" defTabSz="1173947"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11" name="Content Placeholder 20"/>
          <p:cNvSpPr>
            <a:spLocks noGrp="1"/>
          </p:cNvSpPr>
          <p:nvPr>
            <p:ph sz="quarter" idx="18"/>
          </p:nvPr>
        </p:nvSpPr>
        <p:spPr bwMode="gray">
          <a:xfrm>
            <a:off x="6614176" y="2123014"/>
            <a:ext cx="5598817" cy="1933863"/>
          </a:xfrm>
          <a:prstGeom prst="rect">
            <a:avLst/>
          </a:prstGeom>
        </p:spPr>
        <p:txBody>
          <a:bodyPr/>
          <a:lstStyle>
            <a:lvl1pPr>
              <a:defRPr>
                <a:latin typeface="Calibri" pitchFamily="34" charset="0"/>
              </a:defRPr>
            </a:lvl1pPr>
            <a:lvl2pPr>
              <a:defRPr lang="en-US" sz="2300" kern="1200" dirty="0" smtClean="0">
                <a:solidFill>
                  <a:schemeClr val="tx2"/>
                </a:solidFill>
                <a:latin typeface="Calibri" pitchFamily="34" charset="0"/>
                <a:ea typeface="+mn-ea"/>
                <a:cs typeface="+mn-cs"/>
              </a:defRPr>
            </a:lvl2pPr>
            <a:lvl3pPr>
              <a:defRPr lang="en-US" sz="2100" kern="1200" dirty="0" smtClean="0">
                <a:solidFill>
                  <a:schemeClr val="tx2"/>
                </a:solidFill>
                <a:latin typeface="Calibri" pitchFamily="34" charset="0"/>
                <a:ea typeface="+mn-ea"/>
                <a:cs typeface="+mn-cs"/>
              </a:defRPr>
            </a:lvl3pPr>
            <a:lvl4pPr>
              <a:defRPr lang="en-US" sz="2100" kern="1200" dirty="0" smtClean="0">
                <a:solidFill>
                  <a:schemeClr val="tx2"/>
                </a:solidFill>
                <a:latin typeface="Calibri" pitchFamily="34" charset="0"/>
                <a:ea typeface="+mn-ea"/>
                <a:cs typeface="+mn-cs"/>
              </a:defRPr>
            </a:lvl4pPr>
            <a:lvl5pPr>
              <a:defRPr lang="en-US" sz="2100" kern="1200" dirty="0">
                <a:solidFill>
                  <a:schemeClr val="tx2"/>
                </a:solidFill>
                <a:latin typeface="Calibri"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11"/>
          <p:cNvSpPr>
            <a:spLocks noGrp="1"/>
          </p:cNvSpPr>
          <p:nvPr>
            <p:ph type="body" sz="quarter" idx="19"/>
          </p:nvPr>
        </p:nvSpPr>
        <p:spPr bwMode="gray">
          <a:xfrm>
            <a:off x="6618164" y="1583268"/>
            <a:ext cx="5594299" cy="353943"/>
          </a:xfrm>
          <a:prstGeom prst="rect">
            <a:avLst/>
          </a:prstGeom>
        </p:spPr>
        <p:txBody>
          <a:bodyPr>
            <a:spAutoFit/>
          </a:bodyPr>
          <a:lstStyle>
            <a:lvl1pPr>
              <a:defRPr sz="2300" b="1">
                <a:latin typeface="Calibri"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204816821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London 2012 - Alex Byars">
    <p:spTree>
      <p:nvGrpSpPr>
        <p:cNvPr id="1" name=""/>
        <p:cNvGrpSpPr/>
        <p:nvPr/>
      </p:nvGrpSpPr>
      <p:grpSpPr>
        <a:xfrm>
          <a:off x="0" y="0"/>
          <a:ext cx="0" cy="0"/>
          <a:chOff x="0" y="0"/>
          <a:chExt cx="0" cy="0"/>
        </a:xfrm>
      </p:grpSpPr>
      <p:pic>
        <p:nvPicPr>
          <p:cNvPr id="2" name="Picture 3" descr="10118A Posters Cov-6.jpg"/>
          <p:cNvPicPr>
            <a:picLocks noChangeAspect="1"/>
          </p:cNvPicPr>
          <p:nvPr userDrawn="1"/>
        </p:nvPicPr>
        <p:blipFill>
          <a:blip r:embed="rId2"/>
          <a:srcRect/>
          <a:stretch>
            <a:fillRect/>
          </a:stretch>
        </p:blipFill>
        <p:spPr bwMode="auto">
          <a:xfrm>
            <a:off x="5273993" y="0"/>
            <a:ext cx="7527607" cy="7772400"/>
          </a:xfrm>
          <a:prstGeom prst="rect">
            <a:avLst/>
          </a:prstGeom>
          <a:noFill/>
          <a:ln w="9525">
            <a:noFill/>
            <a:miter lim="800000"/>
            <a:headEnd/>
            <a:tailEnd/>
          </a:ln>
        </p:spPr>
      </p:pic>
      <p:sp>
        <p:nvSpPr>
          <p:cNvPr id="3" name="TextBox 10"/>
          <p:cNvSpPr txBox="1">
            <a:spLocks noChangeArrowheads="1"/>
          </p:cNvSpPr>
          <p:nvPr userDrawn="1"/>
        </p:nvSpPr>
        <p:spPr bwMode="auto">
          <a:xfrm>
            <a:off x="648970" y="3031596"/>
            <a:ext cx="4376103" cy="1661993"/>
          </a:xfrm>
          <a:prstGeom prst="rect">
            <a:avLst/>
          </a:prstGeom>
          <a:solidFill>
            <a:schemeClr val="bg1"/>
          </a:solidFill>
          <a:ln>
            <a:noFill/>
          </a:ln>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spcAft>
                <a:spcPts val="386"/>
              </a:spcAft>
              <a:defRPr/>
            </a:pPr>
            <a:r>
              <a:rPr lang="en-GB" sz="1800" b="0" dirty="0" smtClean="0">
                <a:solidFill>
                  <a:srgbClr val="00A1DE"/>
                </a:solidFill>
                <a:latin typeface="Times New Roman" pitchFamily="18" charset="0"/>
              </a:rPr>
              <a:t>Alex Byars, a Deloitte volunteer working for ParalympicsGB during the London 2012 Paralympic Games, welcomes another Deloitte funded TASS athlete back to the Athletes Village after the biggest moment of their sporting career.</a:t>
            </a:r>
          </a:p>
        </p:txBody>
      </p:sp>
      <p:cxnSp>
        <p:nvCxnSpPr>
          <p:cNvPr id="4" name="Straight Connector 3"/>
          <p:cNvCxnSpPr/>
          <p:nvPr userDrawn="1"/>
        </p:nvCxnSpPr>
        <p:spPr>
          <a:xfrm flipV="1">
            <a:off x="644525" y="2907460"/>
            <a:ext cx="4456113" cy="1079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Box 12"/>
          <p:cNvSpPr txBox="1">
            <a:spLocks noChangeArrowheads="1"/>
          </p:cNvSpPr>
          <p:nvPr userDrawn="1"/>
        </p:nvSpPr>
        <p:spPr bwMode="auto">
          <a:xfrm>
            <a:off x="668973" y="5615200"/>
            <a:ext cx="3936047" cy="215444"/>
          </a:xfrm>
          <a:prstGeom prst="rect">
            <a:avLst/>
          </a:prstGeom>
          <a:noFill/>
          <a:ln>
            <a:noFill/>
          </a:ln>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spcAft>
                <a:spcPts val="386"/>
              </a:spcAft>
              <a:defRPr/>
            </a:pPr>
            <a:r>
              <a:rPr lang="en-GB" sz="1400" dirty="0" smtClean="0">
                <a:solidFill>
                  <a:srgbClr val="92D400"/>
                </a:solidFill>
              </a:rPr>
              <a:t>Deloitte. Supporting moments that matter</a:t>
            </a:r>
          </a:p>
        </p:txBody>
      </p:sp>
      <p:pic>
        <p:nvPicPr>
          <p:cNvPr id="6" name="Picture 3" descr="10118A Posters Cov-2.jpg"/>
          <p:cNvPicPr>
            <a:picLocks noChangeAspect="1"/>
          </p:cNvPicPr>
          <p:nvPr userDrawn="1"/>
        </p:nvPicPr>
        <p:blipFill>
          <a:blip r:embed="rId2"/>
          <a:srcRect/>
          <a:stretch>
            <a:fillRect/>
          </a:stretch>
        </p:blipFill>
        <p:spPr bwMode="auto">
          <a:xfrm>
            <a:off x="2231" y="1800"/>
            <a:ext cx="3418205" cy="1421342"/>
          </a:xfrm>
          <a:prstGeom prst="rect">
            <a:avLst/>
          </a:prstGeom>
          <a:noFill/>
          <a:ln w="9525">
            <a:noFill/>
            <a:miter lim="800000"/>
            <a:headEnd/>
            <a:tailEnd/>
          </a:ln>
        </p:spPr>
      </p:pic>
    </p:spTree>
    <p:extLst>
      <p:ext uri="{BB962C8B-B14F-4D97-AF65-F5344CB8AC3E}">
        <p14:creationId xmlns:p14="http://schemas.microsoft.com/office/powerpoint/2010/main" val="420769714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London 2012 - Liz Goulding">
    <p:spTree>
      <p:nvGrpSpPr>
        <p:cNvPr id="1" name=""/>
        <p:cNvGrpSpPr/>
        <p:nvPr/>
      </p:nvGrpSpPr>
      <p:grpSpPr>
        <a:xfrm>
          <a:off x="0" y="0"/>
          <a:ext cx="0" cy="0"/>
          <a:chOff x="0" y="0"/>
          <a:chExt cx="0" cy="0"/>
        </a:xfrm>
      </p:grpSpPr>
      <p:pic>
        <p:nvPicPr>
          <p:cNvPr id="2" name="Picture 3" descr="10118A Posters Cov-7.jpg"/>
          <p:cNvPicPr>
            <a:picLocks noChangeAspect="1"/>
          </p:cNvPicPr>
          <p:nvPr userDrawn="1"/>
        </p:nvPicPr>
        <p:blipFill>
          <a:blip r:embed="rId2"/>
          <a:srcRect/>
          <a:stretch>
            <a:fillRect/>
          </a:stretch>
        </p:blipFill>
        <p:spPr bwMode="auto">
          <a:xfrm>
            <a:off x="5540693" y="0"/>
            <a:ext cx="7260907" cy="7772400"/>
          </a:xfrm>
          <a:prstGeom prst="rect">
            <a:avLst/>
          </a:prstGeom>
          <a:noFill/>
          <a:ln w="9525">
            <a:noFill/>
            <a:miter lim="800000"/>
            <a:headEnd/>
            <a:tailEnd/>
          </a:ln>
        </p:spPr>
      </p:pic>
      <p:sp>
        <p:nvSpPr>
          <p:cNvPr id="3" name="TextBox 10"/>
          <p:cNvSpPr txBox="1">
            <a:spLocks noChangeArrowheads="1"/>
          </p:cNvSpPr>
          <p:nvPr userDrawn="1"/>
        </p:nvSpPr>
        <p:spPr bwMode="auto">
          <a:xfrm>
            <a:off x="668975" y="2846285"/>
            <a:ext cx="4527232" cy="2215991"/>
          </a:xfrm>
          <a:prstGeom prst="rect">
            <a:avLst/>
          </a:prstGeom>
          <a:solidFill>
            <a:schemeClr val="bg1"/>
          </a:solidFill>
          <a:ln>
            <a:noFill/>
          </a:ln>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spcAft>
                <a:spcPts val="386"/>
              </a:spcAft>
              <a:defRPr/>
            </a:pPr>
            <a:r>
              <a:rPr lang="en-GB" sz="1800" b="0" dirty="0" smtClean="0">
                <a:solidFill>
                  <a:srgbClr val="00A1DE"/>
                </a:solidFill>
                <a:latin typeface="Times New Roman" pitchFamily="18" charset="0"/>
              </a:rPr>
              <a:t>15 March 2011.The first person applies for London 2012 tickets online at www.tickets.london2012.com. The London 2012 website will see 500 millions visits during Games times, and it’s a website Deloitte’s Liz Goulding will never forget. AS Senior New Media Producer, she’s been an integral part of its journey from  the start.</a:t>
            </a:r>
          </a:p>
        </p:txBody>
      </p:sp>
      <p:cxnSp>
        <p:nvCxnSpPr>
          <p:cNvPr id="4" name="Straight Connector 3"/>
          <p:cNvCxnSpPr/>
          <p:nvPr userDrawn="1"/>
        </p:nvCxnSpPr>
        <p:spPr>
          <a:xfrm>
            <a:off x="668973" y="2752725"/>
            <a:ext cx="456723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Box 12"/>
          <p:cNvSpPr txBox="1">
            <a:spLocks noChangeArrowheads="1"/>
          </p:cNvSpPr>
          <p:nvPr userDrawn="1"/>
        </p:nvSpPr>
        <p:spPr bwMode="auto">
          <a:xfrm>
            <a:off x="668973" y="6325873"/>
            <a:ext cx="3936047" cy="215444"/>
          </a:xfrm>
          <a:prstGeom prst="rect">
            <a:avLst/>
          </a:prstGeom>
          <a:noFill/>
          <a:ln>
            <a:noFill/>
          </a:ln>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spcAft>
                <a:spcPts val="386"/>
              </a:spcAft>
              <a:defRPr/>
            </a:pPr>
            <a:r>
              <a:rPr lang="en-GB" sz="1400" dirty="0" smtClean="0">
                <a:solidFill>
                  <a:srgbClr val="92D400"/>
                </a:solidFill>
              </a:rPr>
              <a:t>Deloitte. Supporting moments that matter</a:t>
            </a:r>
          </a:p>
        </p:txBody>
      </p:sp>
      <p:pic>
        <p:nvPicPr>
          <p:cNvPr id="6" name="Picture 3" descr="10118A Posters Cov-2.jpg"/>
          <p:cNvPicPr>
            <a:picLocks noChangeAspect="1"/>
          </p:cNvPicPr>
          <p:nvPr userDrawn="1"/>
        </p:nvPicPr>
        <p:blipFill>
          <a:blip r:embed="rId2"/>
          <a:srcRect/>
          <a:stretch>
            <a:fillRect/>
          </a:stretch>
        </p:blipFill>
        <p:spPr bwMode="auto">
          <a:xfrm>
            <a:off x="2231" y="1800"/>
            <a:ext cx="3418205" cy="1421342"/>
          </a:xfrm>
          <a:prstGeom prst="rect">
            <a:avLst/>
          </a:prstGeom>
          <a:noFill/>
          <a:ln w="9525">
            <a:noFill/>
            <a:miter lim="800000"/>
            <a:headEnd/>
            <a:tailEnd/>
          </a:ln>
        </p:spPr>
      </p:pic>
    </p:spTree>
    <p:extLst>
      <p:ext uri="{BB962C8B-B14F-4D97-AF65-F5344CB8AC3E}">
        <p14:creationId xmlns:p14="http://schemas.microsoft.com/office/powerpoint/2010/main" val="396966930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London 2012 - Neil Wood">
    <p:spTree>
      <p:nvGrpSpPr>
        <p:cNvPr id="1" name=""/>
        <p:cNvGrpSpPr/>
        <p:nvPr/>
      </p:nvGrpSpPr>
      <p:grpSpPr>
        <a:xfrm>
          <a:off x="0" y="0"/>
          <a:ext cx="0" cy="0"/>
          <a:chOff x="0" y="0"/>
          <a:chExt cx="0" cy="0"/>
        </a:xfrm>
      </p:grpSpPr>
      <p:pic>
        <p:nvPicPr>
          <p:cNvPr id="2" name="Picture 3" descr="10118A Posters Cov-8.jpg"/>
          <p:cNvPicPr>
            <a:picLocks noChangeAspect="1"/>
          </p:cNvPicPr>
          <p:nvPr userDrawn="1"/>
        </p:nvPicPr>
        <p:blipFill>
          <a:blip r:embed="rId2"/>
          <a:srcRect/>
          <a:stretch>
            <a:fillRect/>
          </a:stretch>
        </p:blipFill>
        <p:spPr bwMode="auto">
          <a:xfrm>
            <a:off x="5253990" y="0"/>
            <a:ext cx="7547610" cy="7772400"/>
          </a:xfrm>
          <a:prstGeom prst="rect">
            <a:avLst/>
          </a:prstGeom>
          <a:noFill/>
          <a:ln w="9525">
            <a:noFill/>
            <a:miter lim="800000"/>
            <a:headEnd/>
            <a:tailEnd/>
          </a:ln>
        </p:spPr>
      </p:pic>
      <p:sp>
        <p:nvSpPr>
          <p:cNvPr id="3" name="TextBox 10"/>
          <p:cNvSpPr txBox="1">
            <a:spLocks noChangeArrowheads="1"/>
          </p:cNvSpPr>
          <p:nvPr userDrawn="1"/>
        </p:nvSpPr>
        <p:spPr bwMode="auto">
          <a:xfrm>
            <a:off x="668975" y="3078379"/>
            <a:ext cx="4376102" cy="1661993"/>
          </a:xfrm>
          <a:prstGeom prst="rect">
            <a:avLst/>
          </a:prstGeom>
          <a:solidFill>
            <a:schemeClr val="bg1"/>
          </a:solidFill>
          <a:ln>
            <a:noFill/>
          </a:ln>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spcAft>
                <a:spcPts val="386"/>
              </a:spcAft>
              <a:defRPr/>
            </a:pPr>
            <a:r>
              <a:rPr lang="en-GB" sz="1800" b="0" dirty="0" smtClean="0">
                <a:solidFill>
                  <a:srgbClr val="00A1DE"/>
                </a:solidFill>
                <a:latin typeface="Times New Roman" pitchFamily="18" charset="0"/>
              </a:rPr>
              <a:t>12.49 BST on 6 July 2005. IOC President Jacques Rogge announces that the 2012 Olympic and Paralympic Games will be in London. As Finance Director of the bid company, Deloitte partner Neil Wood was in Singapore to witness history being made.</a:t>
            </a:r>
          </a:p>
        </p:txBody>
      </p:sp>
      <p:cxnSp>
        <p:nvCxnSpPr>
          <p:cNvPr id="4" name="Straight Connector 3"/>
          <p:cNvCxnSpPr/>
          <p:nvPr userDrawn="1"/>
        </p:nvCxnSpPr>
        <p:spPr>
          <a:xfrm>
            <a:off x="668981" y="2938040"/>
            <a:ext cx="441388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Box 12"/>
          <p:cNvSpPr txBox="1">
            <a:spLocks noChangeArrowheads="1"/>
          </p:cNvSpPr>
          <p:nvPr userDrawn="1"/>
        </p:nvSpPr>
        <p:spPr bwMode="auto">
          <a:xfrm>
            <a:off x="648972" y="5661981"/>
            <a:ext cx="3936048" cy="215444"/>
          </a:xfrm>
          <a:prstGeom prst="rect">
            <a:avLst/>
          </a:prstGeom>
          <a:noFill/>
          <a:ln>
            <a:noFill/>
          </a:ln>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spcAft>
                <a:spcPts val="386"/>
              </a:spcAft>
              <a:defRPr/>
            </a:pPr>
            <a:r>
              <a:rPr lang="en-GB" sz="1400" dirty="0" smtClean="0">
                <a:solidFill>
                  <a:srgbClr val="92D400"/>
                </a:solidFill>
              </a:rPr>
              <a:t>Deloitte. Supporting moments that matter</a:t>
            </a:r>
          </a:p>
        </p:txBody>
      </p:sp>
      <p:pic>
        <p:nvPicPr>
          <p:cNvPr id="6" name="Picture 3" descr="10118A Posters Cov-2.jpg"/>
          <p:cNvPicPr>
            <a:picLocks noChangeAspect="1"/>
          </p:cNvPicPr>
          <p:nvPr userDrawn="1"/>
        </p:nvPicPr>
        <p:blipFill>
          <a:blip r:embed="rId2"/>
          <a:srcRect/>
          <a:stretch>
            <a:fillRect/>
          </a:stretch>
        </p:blipFill>
        <p:spPr bwMode="auto">
          <a:xfrm>
            <a:off x="2231" y="1800"/>
            <a:ext cx="3418205" cy="1421342"/>
          </a:xfrm>
          <a:prstGeom prst="rect">
            <a:avLst/>
          </a:prstGeom>
          <a:noFill/>
          <a:ln w="9525">
            <a:noFill/>
            <a:miter lim="800000"/>
            <a:headEnd/>
            <a:tailEnd/>
          </a:ln>
        </p:spPr>
      </p:pic>
    </p:spTree>
    <p:extLst>
      <p:ext uri="{BB962C8B-B14F-4D97-AF65-F5344CB8AC3E}">
        <p14:creationId xmlns:p14="http://schemas.microsoft.com/office/powerpoint/2010/main" val="78124092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London 2012 - Greenwich Park">
    <p:spTree>
      <p:nvGrpSpPr>
        <p:cNvPr id="1" name=""/>
        <p:cNvGrpSpPr/>
        <p:nvPr/>
      </p:nvGrpSpPr>
      <p:grpSpPr>
        <a:xfrm>
          <a:off x="0" y="0"/>
          <a:ext cx="0" cy="0"/>
          <a:chOff x="0" y="0"/>
          <a:chExt cx="0" cy="0"/>
        </a:xfrm>
      </p:grpSpPr>
      <p:pic>
        <p:nvPicPr>
          <p:cNvPr id="2" name="Picture 3" descr="10118A Posters Cov-9.jpg"/>
          <p:cNvPicPr>
            <a:picLocks noChangeAspect="1"/>
          </p:cNvPicPr>
          <p:nvPr userDrawn="1"/>
        </p:nvPicPr>
        <p:blipFill>
          <a:blip r:embed="rId2"/>
          <a:srcRect/>
          <a:stretch>
            <a:fillRect/>
          </a:stretch>
        </p:blipFill>
        <p:spPr bwMode="auto">
          <a:xfrm>
            <a:off x="5253990" y="0"/>
            <a:ext cx="7547610" cy="7772400"/>
          </a:xfrm>
          <a:prstGeom prst="rect">
            <a:avLst/>
          </a:prstGeom>
          <a:noFill/>
          <a:ln w="9525">
            <a:noFill/>
            <a:miter lim="800000"/>
            <a:headEnd/>
            <a:tailEnd/>
          </a:ln>
        </p:spPr>
      </p:pic>
      <p:sp>
        <p:nvSpPr>
          <p:cNvPr id="3" name="TextBox 10"/>
          <p:cNvSpPr txBox="1">
            <a:spLocks noChangeArrowheads="1"/>
          </p:cNvSpPr>
          <p:nvPr userDrawn="1"/>
        </p:nvSpPr>
        <p:spPr bwMode="auto">
          <a:xfrm>
            <a:off x="668975" y="3078379"/>
            <a:ext cx="4376102" cy="1384995"/>
          </a:xfrm>
          <a:prstGeom prst="rect">
            <a:avLst/>
          </a:prstGeom>
          <a:solidFill>
            <a:schemeClr val="bg1"/>
          </a:solidFill>
          <a:ln>
            <a:noFill/>
          </a:ln>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spcAft>
                <a:spcPts val="386"/>
              </a:spcAft>
              <a:defRPr/>
            </a:pPr>
            <a:r>
              <a:rPr lang="en-GB" sz="1800" b="0" dirty="0" smtClean="0">
                <a:solidFill>
                  <a:srgbClr val="00A1DE"/>
                </a:solidFill>
                <a:latin typeface="Times New Roman" pitchFamily="18" charset="0"/>
              </a:rPr>
              <a:t>Greenwich Park. A horse leaps over the Meridian Line. 23,000 spectators enjoy the spectacle in a venue constructed in just over three months, project managed by Drivers Jonas Deloitte.</a:t>
            </a:r>
          </a:p>
        </p:txBody>
      </p:sp>
      <p:cxnSp>
        <p:nvCxnSpPr>
          <p:cNvPr id="4" name="Straight Connector 3"/>
          <p:cNvCxnSpPr/>
          <p:nvPr userDrawn="1"/>
        </p:nvCxnSpPr>
        <p:spPr>
          <a:xfrm>
            <a:off x="668981" y="2970425"/>
            <a:ext cx="441388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Box 12"/>
          <p:cNvSpPr txBox="1">
            <a:spLocks noChangeArrowheads="1"/>
          </p:cNvSpPr>
          <p:nvPr userDrawn="1"/>
        </p:nvSpPr>
        <p:spPr bwMode="auto">
          <a:xfrm>
            <a:off x="668973" y="5088044"/>
            <a:ext cx="3936047" cy="215444"/>
          </a:xfrm>
          <a:prstGeom prst="rect">
            <a:avLst/>
          </a:prstGeom>
          <a:noFill/>
          <a:ln>
            <a:noFill/>
          </a:ln>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spcAft>
                <a:spcPts val="386"/>
              </a:spcAft>
              <a:defRPr/>
            </a:pPr>
            <a:r>
              <a:rPr lang="en-GB" sz="1400" dirty="0" smtClean="0">
                <a:solidFill>
                  <a:srgbClr val="92D400"/>
                </a:solidFill>
              </a:rPr>
              <a:t>Deloitte. Supporting moments that matter</a:t>
            </a:r>
          </a:p>
        </p:txBody>
      </p:sp>
      <p:pic>
        <p:nvPicPr>
          <p:cNvPr id="6" name="Picture 3" descr="10118A Posters Cov-2.jpg"/>
          <p:cNvPicPr>
            <a:picLocks noChangeAspect="1"/>
          </p:cNvPicPr>
          <p:nvPr userDrawn="1"/>
        </p:nvPicPr>
        <p:blipFill>
          <a:blip r:embed="rId2"/>
          <a:srcRect/>
          <a:stretch>
            <a:fillRect/>
          </a:stretch>
        </p:blipFill>
        <p:spPr bwMode="auto">
          <a:xfrm>
            <a:off x="2231" y="1800"/>
            <a:ext cx="3418205" cy="1421342"/>
          </a:xfrm>
          <a:prstGeom prst="rect">
            <a:avLst/>
          </a:prstGeom>
          <a:noFill/>
          <a:ln w="9525">
            <a:noFill/>
            <a:miter lim="800000"/>
            <a:headEnd/>
            <a:tailEnd/>
          </a:ln>
        </p:spPr>
      </p:pic>
    </p:spTree>
    <p:extLst>
      <p:ext uri="{BB962C8B-B14F-4D97-AF65-F5344CB8AC3E}">
        <p14:creationId xmlns:p14="http://schemas.microsoft.com/office/powerpoint/2010/main" val="136195126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ondon 2012 Opening Ceremony">
    <p:spTree>
      <p:nvGrpSpPr>
        <p:cNvPr id="1" name=""/>
        <p:cNvGrpSpPr/>
        <p:nvPr/>
      </p:nvGrpSpPr>
      <p:grpSpPr>
        <a:xfrm>
          <a:off x="0" y="0"/>
          <a:ext cx="0" cy="0"/>
          <a:chOff x="0" y="0"/>
          <a:chExt cx="0" cy="0"/>
        </a:xfrm>
      </p:grpSpPr>
      <p:pic>
        <p:nvPicPr>
          <p:cNvPr id="2" name="Picture 3" descr="10118A Posters Cov-10.jpg"/>
          <p:cNvPicPr>
            <a:picLocks noChangeAspect="1"/>
          </p:cNvPicPr>
          <p:nvPr userDrawn="1"/>
        </p:nvPicPr>
        <p:blipFill>
          <a:blip r:embed="rId2"/>
          <a:srcRect/>
          <a:stretch>
            <a:fillRect/>
          </a:stretch>
        </p:blipFill>
        <p:spPr bwMode="auto">
          <a:xfrm>
            <a:off x="5311783" y="0"/>
            <a:ext cx="7489825" cy="7772400"/>
          </a:xfrm>
          <a:prstGeom prst="rect">
            <a:avLst/>
          </a:prstGeom>
          <a:noFill/>
          <a:ln w="9525">
            <a:noFill/>
            <a:miter lim="800000"/>
            <a:headEnd/>
            <a:tailEnd/>
          </a:ln>
        </p:spPr>
      </p:pic>
      <p:sp>
        <p:nvSpPr>
          <p:cNvPr id="3" name="TextBox 10"/>
          <p:cNvSpPr txBox="1">
            <a:spLocks noChangeArrowheads="1"/>
          </p:cNvSpPr>
          <p:nvPr userDrawn="1"/>
        </p:nvSpPr>
        <p:spPr bwMode="auto">
          <a:xfrm>
            <a:off x="648970" y="3139549"/>
            <a:ext cx="4491673" cy="1938992"/>
          </a:xfrm>
          <a:prstGeom prst="rect">
            <a:avLst/>
          </a:prstGeom>
          <a:solidFill>
            <a:schemeClr val="bg1"/>
          </a:solidFill>
          <a:ln>
            <a:noFill/>
          </a:ln>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spcAft>
                <a:spcPts val="386"/>
              </a:spcAft>
              <a:defRPr/>
            </a:pPr>
            <a:r>
              <a:rPr lang="en-GB" sz="1800" b="0" dirty="0" smtClean="0">
                <a:solidFill>
                  <a:srgbClr val="00A1DE"/>
                </a:solidFill>
                <a:latin typeface="Times New Roman" pitchFamily="18" charset="0"/>
              </a:rPr>
              <a:t>The Opening Ceremony starts with the Organising Committee at its peak of 200,000 people – ready to deliver the greatest show on Earth. Having started with Just </a:t>
            </a:r>
            <a:r>
              <a:rPr lang="en-GB" sz="1800" b="0" dirty="0" err="1" smtClean="0">
                <a:solidFill>
                  <a:srgbClr val="00A1DE"/>
                </a:solidFill>
                <a:latin typeface="Times New Roman" pitchFamily="18" charset="0"/>
              </a:rPr>
              <a:t>Seb</a:t>
            </a:r>
            <a:r>
              <a:rPr lang="en-GB" sz="1800" b="0" dirty="0" smtClean="0">
                <a:solidFill>
                  <a:srgbClr val="00A1DE"/>
                </a:solidFill>
                <a:latin typeface="Times New Roman" pitchFamily="18" charset="0"/>
              </a:rPr>
              <a:t> Coe and a handful of personnel in 2005, it will be wound down to nothing by March 2013, with Deloitte’s human capital expertise drawn on throughout.</a:t>
            </a:r>
          </a:p>
        </p:txBody>
      </p:sp>
      <p:cxnSp>
        <p:nvCxnSpPr>
          <p:cNvPr id="4" name="Straight Connector 3"/>
          <p:cNvCxnSpPr/>
          <p:nvPr userDrawn="1"/>
        </p:nvCxnSpPr>
        <p:spPr>
          <a:xfrm>
            <a:off x="668981" y="3001010"/>
            <a:ext cx="441388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Box 12"/>
          <p:cNvSpPr txBox="1">
            <a:spLocks noChangeArrowheads="1"/>
          </p:cNvSpPr>
          <p:nvPr userDrawn="1"/>
        </p:nvSpPr>
        <p:spPr bwMode="auto">
          <a:xfrm>
            <a:off x="668973" y="6557966"/>
            <a:ext cx="3936047" cy="215444"/>
          </a:xfrm>
          <a:prstGeom prst="rect">
            <a:avLst/>
          </a:prstGeom>
          <a:noFill/>
          <a:ln>
            <a:noFill/>
          </a:ln>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spcBef>
                <a:spcPct val="0"/>
              </a:spcBef>
              <a:spcAft>
                <a:spcPts val="386"/>
              </a:spcAft>
              <a:defRPr/>
            </a:pPr>
            <a:r>
              <a:rPr lang="en-GB" sz="1400" dirty="0" smtClean="0">
                <a:solidFill>
                  <a:srgbClr val="92D400"/>
                </a:solidFill>
              </a:rPr>
              <a:t>Deloitte. Supporting moments that matter</a:t>
            </a:r>
          </a:p>
        </p:txBody>
      </p:sp>
      <p:pic>
        <p:nvPicPr>
          <p:cNvPr id="6" name="Picture 3" descr="10118A Posters Cov-2.jpg"/>
          <p:cNvPicPr>
            <a:picLocks noChangeAspect="1"/>
          </p:cNvPicPr>
          <p:nvPr userDrawn="1"/>
        </p:nvPicPr>
        <p:blipFill>
          <a:blip r:embed="rId2"/>
          <a:srcRect/>
          <a:stretch>
            <a:fillRect/>
          </a:stretch>
        </p:blipFill>
        <p:spPr bwMode="auto">
          <a:xfrm>
            <a:off x="2231" y="1800"/>
            <a:ext cx="3418205" cy="1421342"/>
          </a:xfrm>
          <a:prstGeom prst="rect">
            <a:avLst/>
          </a:prstGeom>
          <a:noFill/>
          <a:ln w="9525">
            <a:noFill/>
            <a:miter lim="800000"/>
            <a:headEnd/>
            <a:tailEnd/>
          </a:ln>
        </p:spPr>
      </p:pic>
    </p:spTree>
    <p:extLst>
      <p:ext uri="{BB962C8B-B14F-4D97-AF65-F5344CB8AC3E}">
        <p14:creationId xmlns:p14="http://schemas.microsoft.com/office/powerpoint/2010/main" val="38322231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ivider - mid blue">
    <p:spTree>
      <p:nvGrpSpPr>
        <p:cNvPr id="1" name=""/>
        <p:cNvGrpSpPr/>
        <p:nvPr/>
      </p:nvGrpSpPr>
      <p:grpSpPr>
        <a:xfrm>
          <a:off x="0" y="0"/>
          <a:ext cx="0" cy="0"/>
          <a:chOff x="0" y="0"/>
          <a:chExt cx="0" cy="0"/>
        </a:xfrm>
      </p:grpSpPr>
      <p:sp>
        <p:nvSpPr>
          <p:cNvPr id="3" name="Rectangle 2"/>
          <p:cNvSpPr/>
          <p:nvPr userDrawn="1"/>
        </p:nvSpPr>
        <p:spPr>
          <a:xfrm>
            <a:off x="0" y="0"/>
            <a:ext cx="12801600" cy="7772400"/>
          </a:xfrm>
          <a:prstGeom prst="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lIns="117500" tIns="58750" rIns="117500" bIns="58750" anchor="ctr"/>
          <a:lstStyle/>
          <a:p>
            <a:pPr>
              <a:spcBef>
                <a:spcPct val="0"/>
              </a:spcBef>
              <a:defRPr/>
            </a:pPr>
            <a:endParaRPr lang="en-US" sz="1800" b="0" dirty="0">
              <a:solidFill>
                <a:srgbClr val="FFFFFF"/>
              </a:solidFill>
              <a:cs typeface="Arial" charset="0"/>
            </a:endParaRPr>
          </a:p>
        </p:txBody>
      </p:sp>
      <p:sp>
        <p:nvSpPr>
          <p:cNvPr id="2" name="Title 1"/>
          <p:cNvSpPr>
            <a:spLocks noGrp="1"/>
          </p:cNvSpPr>
          <p:nvPr>
            <p:ph type="ctrTitle"/>
          </p:nvPr>
        </p:nvSpPr>
        <p:spPr>
          <a:xfrm>
            <a:off x="502285" y="3058572"/>
            <a:ext cx="11793600" cy="667106"/>
          </a:xfrm>
        </p:spPr>
        <p:txBody>
          <a:bodyPr/>
          <a:lstStyle>
            <a:lvl1pPr algn="l">
              <a:lnSpc>
                <a:spcPct val="85000"/>
              </a:lnSpc>
              <a:defRPr sz="5100" b="0">
                <a:solidFill>
                  <a:schemeClr val="bg1"/>
                </a:solidFill>
                <a:latin typeface="+mj-lt"/>
                <a:cs typeface="Times New Roman" pitchFamily="18" charset="0"/>
              </a:defRPr>
            </a:lvl1pPr>
          </a:lstStyle>
          <a:p>
            <a:r>
              <a:rPr lang="en-US" noProof="0" smtClean="0"/>
              <a:t>Click to edit Master title style</a:t>
            </a:r>
            <a:endParaRPr lang="en-US" noProof="0" dirty="0"/>
          </a:p>
        </p:txBody>
      </p:sp>
      <p:sp>
        <p:nvSpPr>
          <p:cNvPr id="4" name="Footer Placeholder 4"/>
          <p:cNvSpPr>
            <a:spLocks noGrp="1"/>
          </p:cNvSpPr>
          <p:nvPr>
            <p:ph type="ftr" sz="quarter" idx="10"/>
          </p:nvPr>
        </p:nvSpPr>
        <p:spPr>
          <a:xfrm>
            <a:off x="1009015" y="7477343"/>
            <a:ext cx="5140643" cy="142135"/>
          </a:xfrm>
          <a:prstGeom prst="rect">
            <a:avLst/>
          </a:prstGeom>
        </p:spPr>
        <p:txBody>
          <a:bodyPr lIns="91430" tIns="45714" rIns="91430" bIns="45714"/>
          <a:lstStyle>
            <a:lvl1pPr algn="l">
              <a:defRPr sz="1300">
                <a:solidFill>
                  <a:srgbClr val="00A1DE"/>
                </a:solidFill>
              </a:defRPr>
            </a:lvl1pPr>
          </a:lstStyle>
          <a:p>
            <a:pPr>
              <a:defRPr/>
            </a:pPr>
            <a:r>
              <a:rPr lang="en-US" dirty="0"/>
              <a:t>Presentation title</a:t>
            </a:r>
          </a:p>
        </p:txBody>
      </p:sp>
      <p:sp>
        <p:nvSpPr>
          <p:cNvPr id="5" name="Slide Number Placeholder 5"/>
          <p:cNvSpPr>
            <a:spLocks noGrp="1"/>
          </p:cNvSpPr>
          <p:nvPr>
            <p:ph type="sldNum" sz="quarter" idx="11"/>
          </p:nvPr>
        </p:nvSpPr>
        <p:spPr>
          <a:xfrm>
            <a:off x="502287" y="7477343"/>
            <a:ext cx="504508" cy="142135"/>
          </a:xfrm>
          <a:prstGeom prst="rect">
            <a:avLst/>
          </a:prstGeom>
        </p:spPr>
        <p:txBody>
          <a:bodyPr lIns="91430" tIns="45714" rIns="91430" bIns="45714"/>
          <a:lstStyle>
            <a:lvl1pPr>
              <a:defRPr>
                <a:solidFill>
                  <a:srgbClr val="00A1DE"/>
                </a:solidFill>
              </a:defRPr>
            </a:lvl1pPr>
          </a:lstStyle>
          <a:p>
            <a:pPr>
              <a:defRPr/>
            </a:pPr>
            <a:fld id="{F3DDF426-6199-4609-ABE6-C5BEDE1F9339}" type="slidenum">
              <a:rPr lang="en-US"/>
              <a:pPr>
                <a:defRPr/>
              </a:pPr>
              <a:t>‹#›</a:t>
            </a:fld>
            <a:endParaRPr lang="en-US" dirty="0"/>
          </a:p>
        </p:txBody>
      </p:sp>
    </p:spTree>
    <p:extLst>
      <p:ext uri="{BB962C8B-B14F-4D97-AF65-F5344CB8AC3E}">
        <p14:creationId xmlns:p14="http://schemas.microsoft.com/office/powerpoint/2010/main" val="421684144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vider - Deloitte Green">
    <p:spTree>
      <p:nvGrpSpPr>
        <p:cNvPr id="1" name=""/>
        <p:cNvGrpSpPr/>
        <p:nvPr/>
      </p:nvGrpSpPr>
      <p:grpSpPr>
        <a:xfrm>
          <a:off x="0" y="0"/>
          <a:ext cx="0" cy="0"/>
          <a:chOff x="0" y="0"/>
          <a:chExt cx="0" cy="0"/>
        </a:xfrm>
      </p:grpSpPr>
      <p:sp>
        <p:nvSpPr>
          <p:cNvPr id="3" name="Rectangle 2"/>
          <p:cNvSpPr/>
          <p:nvPr userDrawn="1"/>
        </p:nvSpPr>
        <p:spPr>
          <a:xfrm>
            <a:off x="0" y="0"/>
            <a:ext cx="12801600" cy="7772400"/>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lIns="117500" tIns="58750" rIns="117500" bIns="58750" anchor="ctr"/>
          <a:lstStyle/>
          <a:p>
            <a:pPr>
              <a:spcBef>
                <a:spcPct val="0"/>
              </a:spcBef>
              <a:defRPr/>
            </a:pPr>
            <a:endParaRPr lang="en-US" sz="1800" b="0" dirty="0">
              <a:solidFill>
                <a:srgbClr val="FFFFFF"/>
              </a:solidFill>
              <a:cs typeface="Arial" charset="0"/>
            </a:endParaRPr>
          </a:p>
        </p:txBody>
      </p:sp>
      <p:sp>
        <p:nvSpPr>
          <p:cNvPr id="12" name="Title 1"/>
          <p:cNvSpPr>
            <a:spLocks noGrp="1"/>
          </p:cNvSpPr>
          <p:nvPr>
            <p:ph type="ctrTitle"/>
          </p:nvPr>
        </p:nvSpPr>
        <p:spPr>
          <a:xfrm>
            <a:off x="502285" y="3058572"/>
            <a:ext cx="11793600" cy="667106"/>
          </a:xfrm>
        </p:spPr>
        <p:txBody>
          <a:bodyPr/>
          <a:lstStyle>
            <a:lvl1pPr algn="l">
              <a:lnSpc>
                <a:spcPct val="85000"/>
              </a:lnSpc>
              <a:defRPr sz="5100" b="0">
                <a:solidFill>
                  <a:schemeClr val="bg1"/>
                </a:solidFill>
                <a:latin typeface="+mj-lt"/>
                <a:cs typeface="Times New Roman" pitchFamily="18" charset="0"/>
              </a:defRPr>
            </a:lvl1pPr>
          </a:lstStyle>
          <a:p>
            <a:r>
              <a:rPr lang="en-US" noProof="0" smtClean="0"/>
              <a:t>Click to edit Master title style</a:t>
            </a:r>
            <a:endParaRPr lang="en-US" noProof="0" dirty="0"/>
          </a:p>
        </p:txBody>
      </p:sp>
      <p:sp>
        <p:nvSpPr>
          <p:cNvPr id="4" name="Footer Placeholder 4"/>
          <p:cNvSpPr>
            <a:spLocks noGrp="1"/>
          </p:cNvSpPr>
          <p:nvPr>
            <p:ph type="ftr" sz="quarter" idx="10"/>
          </p:nvPr>
        </p:nvSpPr>
        <p:spPr>
          <a:xfrm>
            <a:off x="1009015" y="7477343"/>
            <a:ext cx="5140643" cy="142135"/>
          </a:xfrm>
          <a:prstGeom prst="rect">
            <a:avLst/>
          </a:prstGeom>
        </p:spPr>
        <p:txBody>
          <a:bodyPr lIns="91430" tIns="45714" rIns="91430" bIns="45714"/>
          <a:lstStyle>
            <a:lvl1pPr algn="l">
              <a:defRPr sz="1300">
                <a:solidFill>
                  <a:srgbClr val="92D400"/>
                </a:solidFill>
              </a:defRPr>
            </a:lvl1pPr>
          </a:lstStyle>
          <a:p>
            <a:pPr>
              <a:defRPr/>
            </a:pPr>
            <a:r>
              <a:rPr lang="en-US" dirty="0"/>
              <a:t>Presentation title</a:t>
            </a:r>
          </a:p>
        </p:txBody>
      </p:sp>
      <p:sp>
        <p:nvSpPr>
          <p:cNvPr id="5" name="Slide Number Placeholder 5"/>
          <p:cNvSpPr>
            <a:spLocks noGrp="1"/>
          </p:cNvSpPr>
          <p:nvPr>
            <p:ph type="sldNum" sz="quarter" idx="11"/>
          </p:nvPr>
        </p:nvSpPr>
        <p:spPr>
          <a:xfrm>
            <a:off x="502287" y="7477343"/>
            <a:ext cx="504508" cy="142135"/>
          </a:xfrm>
          <a:prstGeom prst="rect">
            <a:avLst/>
          </a:prstGeom>
        </p:spPr>
        <p:txBody>
          <a:bodyPr lIns="91430" tIns="45714" rIns="91430" bIns="45714"/>
          <a:lstStyle>
            <a:lvl1pPr>
              <a:defRPr>
                <a:solidFill>
                  <a:srgbClr val="92D400"/>
                </a:solidFill>
              </a:defRPr>
            </a:lvl1pPr>
          </a:lstStyle>
          <a:p>
            <a:pPr>
              <a:defRPr/>
            </a:pPr>
            <a:fld id="{289E7A73-45D6-4627-880C-A6095BF0ABB1}" type="slidenum">
              <a:rPr lang="en-US"/>
              <a:pPr>
                <a:defRPr/>
              </a:pPr>
              <a:t>‹#›</a:t>
            </a:fld>
            <a:endParaRPr lang="en-US" dirty="0"/>
          </a:p>
        </p:txBody>
      </p:sp>
    </p:spTree>
    <p:extLst>
      <p:ext uri="{BB962C8B-B14F-4D97-AF65-F5344CB8AC3E}">
        <p14:creationId xmlns:p14="http://schemas.microsoft.com/office/powerpoint/2010/main" val="5881521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vider - light blue">
    <p:spTree>
      <p:nvGrpSpPr>
        <p:cNvPr id="1" name=""/>
        <p:cNvGrpSpPr/>
        <p:nvPr/>
      </p:nvGrpSpPr>
      <p:grpSpPr>
        <a:xfrm>
          <a:off x="0" y="0"/>
          <a:ext cx="0" cy="0"/>
          <a:chOff x="0" y="0"/>
          <a:chExt cx="0" cy="0"/>
        </a:xfrm>
      </p:grpSpPr>
      <p:sp>
        <p:nvSpPr>
          <p:cNvPr id="3" name="Rectangle 2"/>
          <p:cNvSpPr/>
          <p:nvPr userDrawn="1"/>
        </p:nvSpPr>
        <p:spPr>
          <a:xfrm>
            <a:off x="0" y="0"/>
            <a:ext cx="12801600" cy="77724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117500" tIns="58750" rIns="117500" bIns="58750" anchor="ctr"/>
          <a:lstStyle/>
          <a:p>
            <a:pPr>
              <a:spcBef>
                <a:spcPct val="0"/>
              </a:spcBef>
              <a:defRPr/>
            </a:pPr>
            <a:endParaRPr lang="en-US" sz="1800" b="0" dirty="0">
              <a:solidFill>
                <a:srgbClr val="FFFFFF"/>
              </a:solidFill>
              <a:cs typeface="Arial" charset="0"/>
            </a:endParaRPr>
          </a:p>
        </p:txBody>
      </p:sp>
      <p:sp>
        <p:nvSpPr>
          <p:cNvPr id="12" name="Title 1"/>
          <p:cNvSpPr>
            <a:spLocks noGrp="1"/>
          </p:cNvSpPr>
          <p:nvPr>
            <p:ph type="ctrTitle"/>
          </p:nvPr>
        </p:nvSpPr>
        <p:spPr>
          <a:xfrm>
            <a:off x="502285" y="3058572"/>
            <a:ext cx="11793600" cy="667106"/>
          </a:xfrm>
        </p:spPr>
        <p:txBody>
          <a:bodyPr/>
          <a:lstStyle>
            <a:lvl1pPr algn="l">
              <a:lnSpc>
                <a:spcPct val="85000"/>
              </a:lnSpc>
              <a:defRPr sz="5100" b="0">
                <a:solidFill>
                  <a:schemeClr val="bg1"/>
                </a:solidFill>
                <a:latin typeface="+mj-lt"/>
                <a:cs typeface="Times New Roman" pitchFamily="18" charset="0"/>
              </a:defRPr>
            </a:lvl1pPr>
          </a:lstStyle>
          <a:p>
            <a:r>
              <a:rPr lang="en-US" noProof="0" smtClean="0"/>
              <a:t>Click to edit Master title style</a:t>
            </a:r>
            <a:endParaRPr lang="en-US" noProof="0" dirty="0"/>
          </a:p>
        </p:txBody>
      </p:sp>
      <p:sp>
        <p:nvSpPr>
          <p:cNvPr id="4" name="Footer Placeholder 4"/>
          <p:cNvSpPr>
            <a:spLocks noGrp="1"/>
          </p:cNvSpPr>
          <p:nvPr>
            <p:ph type="ftr" sz="quarter" idx="10"/>
          </p:nvPr>
        </p:nvSpPr>
        <p:spPr>
          <a:xfrm>
            <a:off x="1009015" y="7477343"/>
            <a:ext cx="5140643" cy="142135"/>
          </a:xfrm>
          <a:prstGeom prst="rect">
            <a:avLst/>
          </a:prstGeom>
        </p:spPr>
        <p:txBody>
          <a:bodyPr lIns="91430" tIns="45714" rIns="91430" bIns="45714"/>
          <a:lstStyle>
            <a:lvl1pPr algn="l">
              <a:defRPr sz="1300">
                <a:solidFill>
                  <a:srgbClr val="72C7E7"/>
                </a:solidFill>
              </a:defRPr>
            </a:lvl1pPr>
          </a:lstStyle>
          <a:p>
            <a:pPr>
              <a:defRPr/>
            </a:pPr>
            <a:r>
              <a:rPr lang="en-US" dirty="0"/>
              <a:t>Presentation title</a:t>
            </a:r>
          </a:p>
        </p:txBody>
      </p:sp>
      <p:sp>
        <p:nvSpPr>
          <p:cNvPr id="5" name="Slide Number Placeholder 5"/>
          <p:cNvSpPr>
            <a:spLocks noGrp="1"/>
          </p:cNvSpPr>
          <p:nvPr>
            <p:ph type="sldNum" sz="quarter" idx="11"/>
          </p:nvPr>
        </p:nvSpPr>
        <p:spPr>
          <a:xfrm>
            <a:off x="502287" y="7477343"/>
            <a:ext cx="504508" cy="142135"/>
          </a:xfrm>
          <a:prstGeom prst="rect">
            <a:avLst/>
          </a:prstGeom>
        </p:spPr>
        <p:txBody>
          <a:bodyPr lIns="91430" tIns="45714" rIns="91430" bIns="45714"/>
          <a:lstStyle>
            <a:lvl1pPr>
              <a:defRPr>
                <a:solidFill>
                  <a:srgbClr val="72C7E7"/>
                </a:solidFill>
              </a:defRPr>
            </a:lvl1pPr>
          </a:lstStyle>
          <a:p>
            <a:pPr>
              <a:defRPr/>
            </a:pPr>
            <a:fld id="{C03C1109-14CB-44CB-9EAD-D140B165A0BF}" type="slidenum">
              <a:rPr lang="en-US"/>
              <a:pPr>
                <a:defRPr/>
              </a:pPr>
              <a:t>‹#›</a:t>
            </a:fld>
            <a:endParaRPr lang="en-US" dirty="0"/>
          </a:p>
        </p:txBody>
      </p:sp>
    </p:spTree>
    <p:extLst>
      <p:ext uri="{BB962C8B-B14F-4D97-AF65-F5344CB8AC3E}">
        <p14:creationId xmlns:p14="http://schemas.microsoft.com/office/powerpoint/2010/main" val="138557106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vider - dark green">
    <p:spTree>
      <p:nvGrpSpPr>
        <p:cNvPr id="1" name=""/>
        <p:cNvGrpSpPr/>
        <p:nvPr/>
      </p:nvGrpSpPr>
      <p:grpSpPr>
        <a:xfrm>
          <a:off x="0" y="0"/>
          <a:ext cx="0" cy="0"/>
          <a:chOff x="0" y="0"/>
          <a:chExt cx="0" cy="0"/>
        </a:xfrm>
      </p:grpSpPr>
      <p:sp>
        <p:nvSpPr>
          <p:cNvPr id="3" name="Rectangle 2"/>
          <p:cNvSpPr/>
          <p:nvPr userDrawn="1"/>
        </p:nvSpPr>
        <p:spPr>
          <a:xfrm>
            <a:off x="0" y="0"/>
            <a:ext cx="12801600" cy="7772400"/>
          </a:xfrm>
          <a:prstGeom prst="rect">
            <a:avLst/>
          </a:prstGeom>
          <a:solidFill>
            <a:srgbClr val="3C8A2E"/>
          </a:solidFill>
          <a:ln>
            <a:noFill/>
          </a:ln>
        </p:spPr>
        <p:style>
          <a:lnRef idx="2">
            <a:schemeClr val="accent1">
              <a:shade val="50000"/>
            </a:schemeClr>
          </a:lnRef>
          <a:fillRef idx="1">
            <a:schemeClr val="accent1"/>
          </a:fillRef>
          <a:effectRef idx="0">
            <a:schemeClr val="accent1"/>
          </a:effectRef>
          <a:fontRef idx="minor">
            <a:schemeClr val="lt1"/>
          </a:fontRef>
        </p:style>
        <p:txBody>
          <a:bodyPr lIns="117500" tIns="58750" rIns="117500" bIns="58750" anchor="ctr"/>
          <a:lstStyle/>
          <a:p>
            <a:pPr>
              <a:spcBef>
                <a:spcPct val="0"/>
              </a:spcBef>
              <a:defRPr/>
            </a:pPr>
            <a:endParaRPr lang="en-US" sz="1800" b="0" dirty="0">
              <a:solidFill>
                <a:srgbClr val="FFFFFF"/>
              </a:solidFill>
              <a:cs typeface="Arial" charset="0"/>
            </a:endParaRPr>
          </a:p>
        </p:txBody>
      </p:sp>
      <p:sp>
        <p:nvSpPr>
          <p:cNvPr id="12" name="Title 1"/>
          <p:cNvSpPr>
            <a:spLocks noGrp="1"/>
          </p:cNvSpPr>
          <p:nvPr>
            <p:ph type="ctrTitle"/>
          </p:nvPr>
        </p:nvSpPr>
        <p:spPr>
          <a:xfrm>
            <a:off x="502285" y="3058572"/>
            <a:ext cx="11793600" cy="667106"/>
          </a:xfrm>
        </p:spPr>
        <p:txBody>
          <a:bodyPr/>
          <a:lstStyle>
            <a:lvl1pPr algn="l">
              <a:lnSpc>
                <a:spcPct val="85000"/>
              </a:lnSpc>
              <a:defRPr sz="5100" b="0">
                <a:solidFill>
                  <a:schemeClr val="bg1"/>
                </a:solidFill>
                <a:latin typeface="+mj-lt"/>
                <a:cs typeface="Times New Roman" pitchFamily="18" charset="0"/>
              </a:defRPr>
            </a:lvl1pPr>
          </a:lstStyle>
          <a:p>
            <a:r>
              <a:rPr lang="en-US" noProof="0" smtClean="0"/>
              <a:t>Click to edit Master title style</a:t>
            </a:r>
            <a:endParaRPr lang="en-US" noProof="0" dirty="0"/>
          </a:p>
        </p:txBody>
      </p:sp>
      <p:sp>
        <p:nvSpPr>
          <p:cNvPr id="4" name="Footer Placeholder 4"/>
          <p:cNvSpPr>
            <a:spLocks noGrp="1"/>
          </p:cNvSpPr>
          <p:nvPr>
            <p:ph type="ftr" sz="quarter" idx="10"/>
          </p:nvPr>
        </p:nvSpPr>
        <p:spPr>
          <a:xfrm>
            <a:off x="1009015" y="7477343"/>
            <a:ext cx="5140643" cy="142135"/>
          </a:xfrm>
          <a:prstGeom prst="rect">
            <a:avLst/>
          </a:prstGeom>
        </p:spPr>
        <p:txBody>
          <a:bodyPr lIns="91430" tIns="45714" rIns="91430" bIns="45714"/>
          <a:lstStyle>
            <a:lvl1pPr algn="l">
              <a:defRPr sz="1300">
                <a:solidFill>
                  <a:srgbClr val="3C8A2E"/>
                </a:solidFill>
              </a:defRPr>
            </a:lvl1pPr>
          </a:lstStyle>
          <a:p>
            <a:pPr>
              <a:defRPr/>
            </a:pPr>
            <a:r>
              <a:rPr lang="en-US" dirty="0"/>
              <a:t>Presentation title</a:t>
            </a:r>
          </a:p>
        </p:txBody>
      </p:sp>
      <p:sp>
        <p:nvSpPr>
          <p:cNvPr id="5" name="Slide Number Placeholder 5"/>
          <p:cNvSpPr>
            <a:spLocks noGrp="1"/>
          </p:cNvSpPr>
          <p:nvPr>
            <p:ph type="sldNum" sz="quarter" idx="11"/>
          </p:nvPr>
        </p:nvSpPr>
        <p:spPr>
          <a:xfrm>
            <a:off x="502287" y="7477343"/>
            <a:ext cx="504508" cy="142135"/>
          </a:xfrm>
          <a:prstGeom prst="rect">
            <a:avLst/>
          </a:prstGeom>
        </p:spPr>
        <p:txBody>
          <a:bodyPr lIns="91430" tIns="45714" rIns="91430" bIns="45714"/>
          <a:lstStyle>
            <a:lvl1pPr>
              <a:defRPr>
                <a:solidFill>
                  <a:srgbClr val="3C8A2E"/>
                </a:solidFill>
              </a:defRPr>
            </a:lvl1pPr>
          </a:lstStyle>
          <a:p>
            <a:pPr>
              <a:defRPr/>
            </a:pPr>
            <a:fld id="{0B9F30A2-4950-43DD-958F-67EC14DD68DE}" type="slidenum">
              <a:rPr lang="en-US"/>
              <a:pPr>
                <a:defRPr/>
              </a:pPr>
              <a:t>‹#›</a:t>
            </a:fld>
            <a:endParaRPr lang="en-US" dirty="0"/>
          </a:p>
        </p:txBody>
      </p:sp>
    </p:spTree>
    <p:extLst>
      <p:ext uri="{BB962C8B-B14F-4D97-AF65-F5344CB8AC3E}">
        <p14:creationId xmlns:p14="http://schemas.microsoft.com/office/powerpoint/2010/main" val="193204464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vider - Deloitte Blue">
    <p:spTree>
      <p:nvGrpSpPr>
        <p:cNvPr id="1" name=""/>
        <p:cNvGrpSpPr/>
        <p:nvPr/>
      </p:nvGrpSpPr>
      <p:grpSpPr>
        <a:xfrm>
          <a:off x="0" y="0"/>
          <a:ext cx="0" cy="0"/>
          <a:chOff x="0" y="0"/>
          <a:chExt cx="0" cy="0"/>
        </a:xfrm>
      </p:grpSpPr>
      <p:sp>
        <p:nvSpPr>
          <p:cNvPr id="3" name="Rectangle 2"/>
          <p:cNvSpPr/>
          <p:nvPr userDrawn="1"/>
        </p:nvSpPr>
        <p:spPr>
          <a:xfrm>
            <a:off x="0" y="0"/>
            <a:ext cx="12801600" cy="77724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117500" tIns="58750" rIns="117500" bIns="58750" anchor="ctr"/>
          <a:lstStyle/>
          <a:p>
            <a:pPr>
              <a:spcBef>
                <a:spcPct val="0"/>
              </a:spcBef>
              <a:defRPr/>
            </a:pPr>
            <a:endParaRPr lang="en-US" sz="1800" b="0" dirty="0">
              <a:solidFill>
                <a:srgbClr val="FFFFFF"/>
              </a:solidFill>
              <a:cs typeface="Arial" charset="0"/>
            </a:endParaRPr>
          </a:p>
        </p:txBody>
      </p:sp>
      <p:sp>
        <p:nvSpPr>
          <p:cNvPr id="13" name="Title 1"/>
          <p:cNvSpPr>
            <a:spLocks noGrp="1"/>
          </p:cNvSpPr>
          <p:nvPr>
            <p:ph type="ctrTitle"/>
          </p:nvPr>
        </p:nvSpPr>
        <p:spPr>
          <a:xfrm>
            <a:off x="502285" y="3058572"/>
            <a:ext cx="11793600" cy="667106"/>
          </a:xfrm>
        </p:spPr>
        <p:txBody>
          <a:bodyPr/>
          <a:lstStyle>
            <a:lvl1pPr algn="l">
              <a:lnSpc>
                <a:spcPct val="85000"/>
              </a:lnSpc>
              <a:defRPr sz="5100" b="0">
                <a:solidFill>
                  <a:schemeClr val="bg1"/>
                </a:solidFill>
                <a:latin typeface="+mj-lt"/>
                <a:cs typeface="Times New Roman" pitchFamily="18" charset="0"/>
              </a:defRPr>
            </a:lvl1pPr>
          </a:lstStyle>
          <a:p>
            <a:r>
              <a:rPr lang="en-US" noProof="0" smtClean="0"/>
              <a:t>Click to edit Master title style</a:t>
            </a:r>
            <a:endParaRPr lang="en-US" noProof="0" dirty="0"/>
          </a:p>
        </p:txBody>
      </p:sp>
      <p:sp>
        <p:nvSpPr>
          <p:cNvPr id="4" name="Footer Placeholder 4"/>
          <p:cNvSpPr>
            <a:spLocks noGrp="1"/>
          </p:cNvSpPr>
          <p:nvPr>
            <p:ph type="ftr" sz="quarter" idx="10"/>
          </p:nvPr>
        </p:nvSpPr>
        <p:spPr>
          <a:xfrm>
            <a:off x="1009015" y="7477343"/>
            <a:ext cx="5140643" cy="142135"/>
          </a:xfrm>
          <a:prstGeom prst="rect">
            <a:avLst/>
          </a:prstGeom>
        </p:spPr>
        <p:txBody>
          <a:bodyPr lIns="91430" tIns="45714" rIns="91430" bIns="45714"/>
          <a:lstStyle>
            <a:lvl1pPr algn="l">
              <a:defRPr sz="1300">
                <a:solidFill>
                  <a:srgbClr val="002776"/>
                </a:solidFill>
              </a:defRPr>
            </a:lvl1pPr>
          </a:lstStyle>
          <a:p>
            <a:pPr>
              <a:defRPr/>
            </a:pPr>
            <a:r>
              <a:rPr lang="en-US" dirty="0"/>
              <a:t>Presentation title</a:t>
            </a:r>
          </a:p>
        </p:txBody>
      </p:sp>
      <p:sp>
        <p:nvSpPr>
          <p:cNvPr id="5" name="Slide Number Placeholder 5"/>
          <p:cNvSpPr>
            <a:spLocks noGrp="1"/>
          </p:cNvSpPr>
          <p:nvPr>
            <p:ph type="sldNum" sz="quarter" idx="11"/>
          </p:nvPr>
        </p:nvSpPr>
        <p:spPr>
          <a:xfrm>
            <a:off x="502287" y="7477343"/>
            <a:ext cx="504508" cy="142135"/>
          </a:xfrm>
          <a:prstGeom prst="rect">
            <a:avLst/>
          </a:prstGeom>
        </p:spPr>
        <p:txBody>
          <a:bodyPr lIns="91430" tIns="45714" rIns="91430" bIns="45714"/>
          <a:lstStyle>
            <a:lvl1pPr>
              <a:defRPr>
                <a:solidFill>
                  <a:srgbClr val="002776"/>
                </a:solidFill>
              </a:defRPr>
            </a:lvl1pPr>
          </a:lstStyle>
          <a:p>
            <a:pPr>
              <a:defRPr/>
            </a:pPr>
            <a:fld id="{99EF1014-83A5-4830-9044-083E4E565E39}" type="slidenum">
              <a:rPr lang="en-US"/>
              <a:pPr>
                <a:defRPr/>
              </a:pPr>
              <a:t>‹#›</a:t>
            </a:fld>
            <a:endParaRPr lang="en-US" dirty="0"/>
          </a:p>
        </p:txBody>
      </p:sp>
    </p:spTree>
    <p:extLst>
      <p:ext uri="{BB962C8B-B14F-4D97-AF65-F5344CB8AC3E}">
        <p14:creationId xmlns:p14="http://schemas.microsoft.com/office/powerpoint/2010/main" val="40769662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1.xml"/><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theme" Target="../theme/theme10.xml"/><Relationship Id="rId2" Type="http://schemas.openxmlformats.org/officeDocument/2006/relationships/slideLayout" Target="../slideLayouts/slideLayout195.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0" Type="http://schemas.openxmlformats.org/officeDocument/2006/relationships/slideLayout" Target="../slideLayouts/slideLayout203.xml"/><Relationship Id="rId4" Type="http://schemas.openxmlformats.org/officeDocument/2006/relationships/slideLayout" Target="../slideLayouts/slideLayout197.xml"/><Relationship Id="rId9" Type="http://schemas.openxmlformats.org/officeDocument/2006/relationships/slideLayout" Target="../slideLayouts/slideLayout20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theme" Target="../theme/theme3.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9" Type="http://schemas.openxmlformats.org/officeDocument/2006/relationships/slideLayout" Target="../slideLayouts/slideLayout97.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34" Type="http://schemas.openxmlformats.org/officeDocument/2006/relationships/slideLayout" Target="../slideLayouts/slideLayout92.xml"/><Relationship Id="rId42" Type="http://schemas.openxmlformats.org/officeDocument/2006/relationships/slideLayout" Target="../slideLayouts/slideLayout100.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38" Type="http://schemas.openxmlformats.org/officeDocument/2006/relationships/slideLayout" Target="../slideLayouts/slideLayout96.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41" Type="http://schemas.openxmlformats.org/officeDocument/2006/relationships/slideLayout" Target="../slideLayouts/slideLayout99.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37" Type="http://schemas.openxmlformats.org/officeDocument/2006/relationships/slideLayout" Target="../slideLayouts/slideLayout95.xml"/><Relationship Id="rId40" Type="http://schemas.openxmlformats.org/officeDocument/2006/relationships/slideLayout" Target="../slideLayouts/slideLayout98.xml"/><Relationship Id="rId45" Type="http://schemas.openxmlformats.org/officeDocument/2006/relationships/theme" Target="../theme/theme4.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slideLayout" Target="../slideLayouts/slideLayout94.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slideLayout" Target="../slideLayouts/slideLayout89.xml"/><Relationship Id="rId44" Type="http://schemas.openxmlformats.org/officeDocument/2006/relationships/slideLayout" Target="../slideLayouts/slideLayout102.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slideLayout" Target="../slideLayouts/slideLayout93.xml"/><Relationship Id="rId43" Type="http://schemas.openxmlformats.org/officeDocument/2006/relationships/slideLayout" Target="../slideLayouts/slideLayout10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0.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theme" Target="../theme/theme5.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theme" Target="../theme/theme6.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2.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theme" Target="../theme/theme7.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9" Type="http://schemas.openxmlformats.org/officeDocument/2006/relationships/slideLayout" Target="../slideLayouts/slideLayout174.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34" Type="http://schemas.openxmlformats.org/officeDocument/2006/relationships/slideLayout" Target="../slideLayouts/slideLayout169.xml"/><Relationship Id="rId42" Type="http://schemas.openxmlformats.org/officeDocument/2006/relationships/slideLayout" Target="../slideLayouts/slideLayout177.xml"/><Relationship Id="rId47" Type="http://schemas.openxmlformats.org/officeDocument/2006/relationships/slideLayout" Target="../slideLayouts/slideLayout182.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33" Type="http://schemas.openxmlformats.org/officeDocument/2006/relationships/slideLayout" Target="../slideLayouts/slideLayout168.xml"/><Relationship Id="rId38" Type="http://schemas.openxmlformats.org/officeDocument/2006/relationships/slideLayout" Target="../slideLayouts/slideLayout173.xml"/><Relationship Id="rId46" Type="http://schemas.openxmlformats.org/officeDocument/2006/relationships/slideLayout" Target="../slideLayouts/slideLayout181.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41" Type="http://schemas.openxmlformats.org/officeDocument/2006/relationships/slideLayout" Target="../slideLayouts/slideLayout176.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slideLayout" Target="../slideLayouts/slideLayout167.xml"/><Relationship Id="rId37" Type="http://schemas.openxmlformats.org/officeDocument/2006/relationships/slideLayout" Target="../slideLayouts/slideLayout172.xml"/><Relationship Id="rId40" Type="http://schemas.openxmlformats.org/officeDocument/2006/relationships/slideLayout" Target="../slideLayouts/slideLayout175.xml"/><Relationship Id="rId45" Type="http://schemas.openxmlformats.org/officeDocument/2006/relationships/slideLayout" Target="../slideLayouts/slideLayout180.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36" Type="http://schemas.openxmlformats.org/officeDocument/2006/relationships/slideLayout" Target="../slideLayouts/slideLayout171.xml"/><Relationship Id="rId49" Type="http://schemas.openxmlformats.org/officeDocument/2006/relationships/theme" Target="../theme/theme8.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slideLayout" Target="../slideLayouts/slideLayout166.xml"/><Relationship Id="rId44" Type="http://schemas.openxmlformats.org/officeDocument/2006/relationships/slideLayout" Target="../slideLayouts/slideLayout179.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 Id="rId35" Type="http://schemas.openxmlformats.org/officeDocument/2006/relationships/slideLayout" Target="../slideLayouts/slideLayout170.xml"/><Relationship Id="rId43" Type="http://schemas.openxmlformats.org/officeDocument/2006/relationships/slideLayout" Target="../slideLayouts/slideLayout178.xml"/><Relationship Id="rId48" Type="http://schemas.openxmlformats.org/officeDocument/2006/relationships/slideLayout" Target="../slideLayouts/slideLayout183.xml"/><Relationship Id="rId8" Type="http://schemas.openxmlformats.org/officeDocument/2006/relationships/slideLayout" Target="../slideLayouts/slideLayout14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1.xml"/><Relationship Id="rId3" Type="http://schemas.openxmlformats.org/officeDocument/2006/relationships/slideLayout" Target="../slideLayouts/slideLayout186.xml"/><Relationship Id="rId7" Type="http://schemas.openxmlformats.org/officeDocument/2006/relationships/slideLayout" Target="../slideLayouts/slideLayout190.xml"/><Relationship Id="rId2" Type="http://schemas.openxmlformats.org/officeDocument/2006/relationships/slideLayout" Target="../slideLayouts/slideLayout185.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theme" Target="../theme/theme9.xml"/><Relationship Id="rId5" Type="http://schemas.openxmlformats.org/officeDocument/2006/relationships/slideLayout" Target="../slideLayouts/slideLayout188.xml"/><Relationship Id="rId10" Type="http://schemas.openxmlformats.org/officeDocument/2006/relationships/slideLayout" Target="../slideLayouts/slideLayout193.xml"/><Relationship Id="rId4" Type="http://schemas.openxmlformats.org/officeDocument/2006/relationships/slideLayout" Target="../slideLayouts/slideLayout187.xml"/><Relationship Id="rId9" Type="http://schemas.openxmlformats.org/officeDocument/2006/relationships/slideLayout" Target="../slideLayouts/slideLayout1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8" name="Rectangle 17"/>
          <p:cNvSpPr>
            <a:spLocks noChangeArrowheads="1"/>
          </p:cNvSpPr>
          <p:nvPr/>
        </p:nvSpPr>
        <p:spPr bwMode="gray">
          <a:xfrm>
            <a:off x="8352155" y="7527492"/>
            <a:ext cx="3884930" cy="138499"/>
          </a:xfrm>
          <a:prstGeom prst="rect">
            <a:avLst/>
          </a:prstGeom>
          <a:noFill/>
          <a:ln w="25400" algn="ctr">
            <a:noFill/>
            <a:miter lim="800000"/>
            <a:headEnd/>
            <a:tailEnd/>
          </a:ln>
        </p:spPr>
        <p:txBody>
          <a:bodyPr lIns="0" tIns="0" rIns="0" bIns="0" anchor="b">
            <a:spAutoFit/>
          </a:bodyPr>
          <a:lstStyle/>
          <a:p>
            <a:pPr algn="r">
              <a:spcBef>
                <a:spcPct val="0"/>
              </a:spcBef>
            </a:pPr>
            <a:r>
              <a:rPr lang="en-US" sz="900" b="0" dirty="0">
                <a:solidFill>
                  <a:srgbClr val="002776"/>
                </a:solidFill>
                <a:latin typeface="Calibri" pitchFamily="34" charset="0"/>
                <a:cs typeface="Calibri" pitchFamily="34" charset="0"/>
              </a:rPr>
              <a:t>Copyright © </a:t>
            </a:r>
            <a:r>
              <a:rPr lang="en-US" sz="900" b="0" dirty="0" smtClean="0">
                <a:solidFill>
                  <a:srgbClr val="002776"/>
                </a:solidFill>
                <a:latin typeface="Calibri" pitchFamily="34" charset="0"/>
                <a:cs typeface="Calibri" pitchFamily="34" charset="0"/>
              </a:rPr>
              <a:t>2013 Deloitte </a:t>
            </a:r>
            <a:r>
              <a:rPr lang="en-US" sz="900" b="0" dirty="0">
                <a:solidFill>
                  <a:srgbClr val="002776"/>
                </a:solidFill>
                <a:latin typeface="Calibri" pitchFamily="34" charset="0"/>
                <a:cs typeface="Calibri" pitchFamily="34" charset="0"/>
              </a:rPr>
              <a:t>Development LLC. </a:t>
            </a:r>
            <a:r>
              <a:rPr lang="en-US" sz="900" b="0" dirty="0" smtClean="0">
                <a:solidFill>
                  <a:srgbClr val="002776"/>
                </a:solidFill>
                <a:latin typeface="Calibri" pitchFamily="34" charset="0"/>
                <a:cs typeface="Calibri" pitchFamily="34" charset="0"/>
              </a:rPr>
              <a:t>All rights reserved.</a:t>
            </a:r>
            <a:endParaRPr lang="en-US" sz="900" b="0" dirty="0">
              <a:solidFill>
                <a:srgbClr val="002776"/>
              </a:solidFill>
              <a:latin typeface="Calibri" pitchFamily="34" charset="0"/>
              <a:cs typeface="Calibri" pitchFamily="34" charset="0"/>
            </a:endParaRPr>
          </a:p>
        </p:txBody>
      </p:sp>
      <p:sp>
        <p:nvSpPr>
          <p:cNvPr id="19" name="Slide Number Placeholder 9"/>
          <p:cNvSpPr>
            <a:spLocks/>
          </p:cNvSpPr>
          <p:nvPr/>
        </p:nvSpPr>
        <p:spPr bwMode="gray">
          <a:xfrm>
            <a:off x="580075" y="7498230"/>
            <a:ext cx="375602" cy="184666"/>
          </a:xfrm>
          <a:prstGeom prst="rect">
            <a:avLst/>
          </a:prstGeom>
          <a:noFill/>
          <a:ln w="9525">
            <a:noFill/>
            <a:miter lim="800000"/>
            <a:headEnd/>
            <a:tailEnd/>
          </a:ln>
        </p:spPr>
        <p:txBody>
          <a:bodyPr lIns="0" tIns="0" rIns="0" bIns="0" anchor="b">
            <a:spAutoFit/>
          </a:bodyPr>
          <a:lstStyle/>
          <a:p>
            <a:pPr algn="l">
              <a:spcBef>
                <a:spcPct val="0"/>
              </a:spcBef>
            </a:pPr>
            <a:fld id="{86C77FDF-45C5-4665-AAEE-45520AE6BEA9}" type="slidenum">
              <a:rPr lang="en-US">
                <a:solidFill>
                  <a:srgbClr val="002776"/>
                </a:solidFill>
                <a:latin typeface="Calibri" pitchFamily="34" charset="0"/>
                <a:cs typeface="Calibri" pitchFamily="34" charset="0"/>
              </a:rPr>
              <a:pPr algn="l">
                <a:spcBef>
                  <a:spcPct val="0"/>
                </a:spcBef>
              </a:pPr>
              <a:t>‹#›</a:t>
            </a:fld>
            <a:endParaRPr lang="en-US" dirty="0">
              <a:solidFill>
                <a:srgbClr val="002776"/>
              </a:solidFill>
              <a:latin typeface="Calibri" pitchFamily="34" charset="0"/>
              <a:cs typeface="Calibri" pitchFamily="34" charset="0"/>
            </a:endParaRPr>
          </a:p>
        </p:txBody>
      </p:sp>
      <p:sp>
        <p:nvSpPr>
          <p:cNvPr id="20" name="Footer Placeholder 10"/>
          <p:cNvSpPr>
            <a:spLocks/>
          </p:cNvSpPr>
          <p:nvPr/>
        </p:nvSpPr>
        <p:spPr bwMode="gray">
          <a:xfrm>
            <a:off x="1124585" y="7498230"/>
            <a:ext cx="6045200" cy="184666"/>
          </a:xfrm>
          <a:prstGeom prst="rect">
            <a:avLst/>
          </a:prstGeom>
          <a:noFill/>
          <a:ln w="9525">
            <a:noFill/>
            <a:miter lim="800000"/>
            <a:headEnd/>
            <a:tailEnd/>
          </a:ln>
        </p:spPr>
        <p:txBody>
          <a:bodyPr lIns="0" tIns="0" rIns="0" bIns="0" anchor="b">
            <a:spAutoFit/>
          </a:bodyPr>
          <a:lstStyle/>
          <a:p>
            <a:pPr algn="l">
              <a:spcBef>
                <a:spcPct val="0"/>
              </a:spcBef>
            </a:pPr>
            <a:r>
              <a:rPr lang="en-US" b="0" dirty="0" smtClean="0">
                <a:solidFill>
                  <a:srgbClr val="002776"/>
                </a:solidFill>
                <a:latin typeface="Calibri" pitchFamily="34" charset="0"/>
                <a:cs typeface="Calibri" pitchFamily="34" charset="0"/>
              </a:rPr>
              <a:t>Perspective on cyber security | Executive Overview</a:t>
            </a:r>
            <a:endParaRPr lang="en-US" b="0" dirty="0">
              <a:solidFill>
                <a:srgbClr val="002776"/>
              </a:solidFill>
              <a:latin typeface="Calibri" pitchFamily="34" charset="0"/>
              <a:cs typeface="Calibri" pitchFamily="34" charset="0"/>
            </a:endParaRPr>
          </a:p>
        </p:txBody>
      </p:sp>
      <p:sp>
        <p:nvSpPr>
          <p:cNvPr id="11"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3947"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16" name="Text Placeholder 15"/>
          <p:cNvSpPr>
            <a:spLocks noGrp="1"/>
          </p:cNvSpPr>
          <p:nvPr>
            <p:ph type="body" idx="1"/>
          </p:nvPr>
        </p:nvSpPr>
        <p:spPr bwMode="gray">
          <a:xfrm>
            <a:off x="576072" y="1586865"/>
            <a:ext cx="11662258" cy="1933863"/>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95598669"/>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 id="2147484050" r:id="rId12"/>
    <p:sldLayoutId id="2147484051" r:id="rId13"/>
    <p:sldLayoutId id="2147484052" r:id="rId14"/>
    <p:sldLayoutId id="2147484053" r:id="rId15"/>
    <p:sldLayoutId id="2147484054" r:id="rId16"/>
    <p:sldLayoutId id="2147484055" r:id="rId17"/>
    <p:sldLayoutId id="2147484056" r:id="rId18"/>
    <p:sldLayoutId id="2147484057" r:id="rId19"/>
    <p:sldLayoutId id="2147484058" r:id="rId20"/>
    <p:sldLayoutId id="2147484059" r:id="rId21"/>
    <p:sldLayoutId id="2147484060" r:id="rId22"/>
  </p:sldLayoutIdLst>
  <p:timing>
    <p:tnLst>
      <p:par>
        <p:cTn id="1" dur="indefinite" restart="never" nodeType="tmRoot"/>
      </p:par>
    </p:tnLst>
  </p:timing>
  <p:hf hdr="0" dt="0"/>
  <p:txStyles>
    <p:titleStyle>
      <a:lvl1pPr algn="l" rtl="0" eaLnBrk="1" fontAlgn="base" hangingPunct="1">
        <a:lnSpc>
          <a:spcPts val="3343"/>
        </a:lnSpc>
        <a:spcBef>
          <a:spcPct val="0"/>
        </a:spcBef>
        <a:spcAft>
          <a:spcPct val="0"/>
        </a:spcAft>
        <a:defRPr kumimoji="0" lang="en-US" sz="3100" b="1" i="0" u="none" strike="noStrike" kern="1200" cap="none" spc="0" normalizeH="0" baseline="0" noProof="0" dirty="0" smtClean="0">
          <a:ln>
            <a:noFill/>
          </a:ln>
          <a:solidFill>
            <a:schemeClr val="tx2"/>
          </a:solidFill>
          <a:effectLst/>
          <a:uLnTx/>
          <a:uFillTx/>
          <a:latin typeface="Calibri" pitchFamily="34" charset="0"/>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586972" algn="l" rtl="0" eaLnBrk="1" fontAlgn="base" hangingPunct="1">
        <a:spcBef>
          <a:spcPct val="0"/>
        </a:spcBef>
        <a:spcAft>
          <a:spcPct val="0"/>
        </a:spcAft>
        <a:defRPr sz="3100" b="1">
          <a:solidFill>
            <a:schemeClr val="accent1"/>
          </a:solidFill>
          <a:latin typeface="Arial" charset="0"/>
        </a:defRPr>
      </a:lvl6pPr>
      <a:lvl7pPr marL="1173947" algn="l" rtl="0" eaLnBrk="1" fontAlgn="base" hangingPunct="1">
        <a:spcBef>
          <a:spcPct val="0"/>
        </a:spcBef>
        <a:spcAft>
          <a:spcPct val="0"/>
        </a:spcAft>
        <a:defRPr sz="3100" b="1">
          <a:solidFill>
            <a:schemeClr val="accent1"/>
          </a:solidFill>
          <a:latin typeface="Arial" charset="0"/>
        </a:defRPr>
      </a:lvl7pPr>
      <a:lvl8pPr marL="1760922" algn="l" rtl="0" eaLnBrk="1" fontAlgn="base" hangingPunct="1">
        <a:spcBef>
          <a:spcPct val="0"/>
        </a:spcBef>
        <a:spcAft>
          <a:spcPct val="0"/>
        </a:spcAft>
        <a:defRPr sz="3100" b="1">
          <a:solidFill>
            <a:schemeClr val="accent1"/>
          </a:solidFill>
          <a:latin typeface="Arial" charset="0"/>
        </a:defRPr>
      </a:lvl8pPr>
      <a:lvl9pPr marL="2347895" algn="l" rtl="0" eaLnBrk="1" fontAlgn="base" hangingPunct="1">
        <a:spcBef>
          <a:spcPct val="0"/>
        </a:spcBef>
        <a:spcAft>
          <a:spcPct val="0"/>
        </a:spcAft>
        <a:defRPr sz="3100" b="1">
          <a:solidFill>
            <a:schemeClr val="accent1"/>
          </a:solidFill>
          <a:latin typeface="Arial" charset="0"/>
        </a:defRPr>
      </a:lvl9pPr>
    </p:titleStyle>
    <p:bodyStyle>
      <a:lvl1pPr marR="0" indent="0" algn="l" defTabSz="1173947" rtl="0" eaLnBrk="1" fontAlgn="base" latinLnBrk="0" hangingPunct="1">
        <a:lnSpc>
          <a:spcPct val="100000"/>
        </a:lnSpc>
        <a:spcBef>
          <a:spcPts val="2829"/>
        </a:spcBef>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L="224193" marR="0" indent="-224193" algn="l" defTabSz="1173947" rtl="0" eaLnBrk="1" fontAlgn="base" latinLnBrk="0" hangingPunct="1">
        <a:lnSpc>
          <a:spcPct val="100000"/>
        </a:lnSpc>
        <a:spcBef>
          <a:spcPts val="514"/>
        </a:spcBef>
        <a:spcAft>
          <a:spcPct val="0"/>
        </a:spcAft>
        <a:buFont typeface="Arial" pitchFamily="34" charset="0"/>
        <a:buChar char="•"/>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L="438191" indent="-220116" algn="l" rtl="0" eaLnBrk="1" fontAlgn="base" hangingPunct="1">
        <a:lnSpc>
          <a:spcPct val="100000"/>
        </a:lnSpc>
        <a:spcBef>
          <a:spcPts val="514"/>
        </a:spcBef>
        <a:spcAft>
          <a:spcPct val="0"/>
        </a:spcAft>
        <a:buFont typeface="Arial" pitchFamily="34" charset="0"/>
        <a:buChar char="–"/>
        <a:defRPr lang="en-US" sz="2100" kern="1200" dirty="0" smtClean="0">
          <a:solidFill>
            <a:schemeClr val="tx2"/>
          </a:solidFill>
          <a:latin typeface="Calibri" pitchFamily="34" charset="0"/>
          <a:ea typeface="+mn-ea"/>
          <a:cs typeface="+mn-cs"/>
        </a:defRPr>
      </a:lvl3pPr>
      <a:lvl4pPr marL="662382" marR="0" indent="-224193" algn="l" defTabSz="1173947" rtl="0" eaLnBrk="1" fontAlgn="base" latinLnBrk="0" hangingPunct="1">
        <a:lnSpc>
          <a:spcPct val="100000"/>
        </a:lnSpc>
        <a:spcBef>
          <a:spcPts val="514"/>
        </a:spcBef>
        <a:spcAft>
          <a:spcPct val="0"/>
        </a:spcAft>
        <a:buFont typeface="Arial" pitchFamily="34" charset="0"/>
        <a:buChar char="•"/>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L="884528" marR="0" indent="-222155" algn="l" defTabSz="1173947" rtl="0" eaLnBrk="1" fontAlgn="base" latinLnBrk="0" hangingPunct="1">
        <a:lnSpc>
          <a:spcPct val="100000"/>
        </a:lnSpc>
        <a:spcBef>
          <a:spcPts val="514"/>
        </a:spcBef>
        <a:spcAft>
          <a:spcPct val="0"/>
        </a:spcAft>
        <a:buFont typeface="Arial" pitchFamily="34" charset="0"/>
        <a:buChar char="–"/>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5pPr>
      <a:lvl6pPr marL="856004" marR="0" indent="-214000" algn="l" defTabSz="1173947" rtl="0" eaLnBrk="1" fontAlgn="base" latinLnBrk="0" hangingPunct="1">
        <a:lnSpc>
          <a:spcPct val="100000"/>
        </a:lnSpc>
        <a:spcBef>
          <a:spcPts val="514"/>
        </a:spcBef>
        <a:spcAft>
          <a:spcPct val="0"/>
        </a:spcAft>
        <a:buFont typeface="Arial" pitchFamily="34" charset="0"/>
        <a:buChar char="–"/>
        <a:tabLst/>
        <a:defRPr kumimoji="0" lang="en-US" sz="13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385907" indent="-236413" algn="l" defTabSz="1173947" rtl="0" eaLnBrk="1" latinLnBrk="0" hangingPunct="1">
        <a:spcBef>
          <a:spcPts val="0"/>
        </a:spcBef>
        <a:spcAft>
          <a:spcPts val="386"/>
        </a:spcAft>
        <a:buFont typeface="Arial" pitchFamily="34" charset="0"/>
        <a:buChar char="‒"/>
        <a:defRPr sz="1800" kern="1200">
          <a:solidFill>
            <a:schemeClr val="accent1"/>
          </a:solidFill>
          <a:latin typeface="+mn-lt"/>
          <a:ea typeface="+mn-ea"/>
          <a:cs typeface="+mn-cs"/>
        </a:defRPr>
      </a:lvl7pPr>
      <a:lvl8pPr marL="1608065" indent="-222155" algn="l" defTabSz="1173947" rtl="0" eaLnBrk="1" latinLnBrk="0" hangingPunct="1">
        <a:spcBef>
          <a:spcPts val="0"/>
        </a:spcBef>
        <a:spcAft>
          <a:spcPts val="386"/>
        </a:spcAft>
        <a:buFont typeface="Arial" pitchFamily="34" charset="0"/>
        <a:buChar char="•"/>
        <a:defRPr sz="1800" kern="1200">
          <a:solidFill>
            <a:schemeClr val="accent1"/>
          </a:solidFill>
          <a:latin typeface="+mn-lt"/>
          <a:ea typeface="+mn-ea"/>
          <a:cs typeface="+mn-cs"/>
        </a:defRPr>
      </a:lvl8pPr>
      <a:lvl9pPr marL="1842445" indent="-234375" algn="l" defTabSz="1173947" rtl="0" eaLnBrk="1" latinLnBrk="0" hangingPunct="1">
        <a:spcBef>
          <a:spcPts val="0"/>
        </a:spcBef>
        <a:spcAft>
          <a:spcPts val="386"/>
        </a:spcAft>
        <a:buFont typeface="Arial" pitchFamily="34" charset="0"/>
        <a:buChar char="‒"/>
        <a:defRPr sz="1800" kern="1200">
          <a:solidFill>
            <a:schemeClr val="accent1"/>
          </a:solidFill>
          <a:latin typeface="+mn-lt"/>
          <a:ea typeface="+mn-ea"/>
          <a:cs typeface="+mn-cs"/>
        </a:defRPr>
      </a:lvl9pPr>
    </p:bodyStyle>
    <p:otherStyle>
      <a:defPPr>
        <a:defRPr lang="en-US"/>
      </a:defPPr>
      <a:lvl1pPr marL="0" algn="l" defTabSz="1173947" rtl="0" eaLnBrk="1" latinLnBrk="0" hangingPunct="1">
        <a:defRPr sz="2300" kern="1200">
          <a:solidFill>
            <a:schemeClr val="tx1"/>
          </a:solidFill>
          <a:latin typeface="+mn-lt"/>
          <a:ea typeface="+mn-ea"/>
          <a:cs typeface="+mn-cs"/>
        </a:defRPr>
      </a:lvl1pPr>
      <a:lvl2pPr marL="586972" algn="l" defTabSz="1173947" rtl="0" eaLnBrk="1" latinLnBrk="0" hangingPunct="1">
        <a:defRPr sz="2300" kern="1200">
          <a:solidFill>
            <a:schemeClr val="tx1"/>
          </a:solidFill>
          <a:latin typeface="+mn-lt"/>
          <a:ea typeface="+mn-ea"/>
          <a:cs typeface="+mn-cs"/>
        </a:defRPr>
      </a:lvl2pPr>
      <a:lvl3pPr marL="1173947" algn="l" defTabSz="1173947" rtl="0" eaLnBrk="1" latinLnBrk="0" hangingPunct="1">
        <a:defRPr sz="2300" kern="1200">
          <a:solidFill>
            <a:schemeClr val="tx1"/>
          </a:solidFill>
          <a:latin typeface="+mn-lt"/>
          <a:ea typeface="+mn-ea"/>
          <a:cs typeface="+mn-cs"/>
        </a:defRPr>
      </a:lvl3pPr>
      <a:lvl4pPr marL="1760922" algn="l" defTabSz="1173947" rtl="0" eaLnBrk="1" latinLnBrk="0" hangingPunct="1">
        <a:defRPr sz="2300" kern="1200">
          <a:solidFill>
            <a:schemeClr val="tx1"/>
          </a:solidFill>
          <a:latin typeface="+mn-lt"/>
          <a:ea typeface="+mn-ea"/>
          <a:cs typeface="+mn-cs"/>
        </a:defRPr>
      </a:lvl4pPr>
      <a:lvl5pPr marL="2347895" algn="l" defTabSz="1173947" rtl="0" eaLnBrk="1" latinLnBrk="0" hangingPunct="1">
        <a:defRPr sz="2300" kern="1200">
          <a:solidFill>
            <a:schemeClr val="tx1"/>
          </a:solidFill>
          <a:latin typeface="+mn-lt"/>
          <a:ea typeface="+mn-ea"/>
          <a:cs typeface="+mn-cs"/>
        </a:defRPr>
      </a:lvl5pPr>
      <a:lvl6pPr marL="2934867" algn="l" defTabSz="1173947" rtl="0" eaLnBrk="1" latinLnBrk="0" hangingPunct="1">
        <a:defRPr sz="2300" kern="1200">
          <a:solidFill>
            <a:schemeClr val="tx1"/>
          </a:solidFill>
          <a:latin typeface="+mn-lt"/>
          <a:ea typeface="+mn-ea"/>
          <a:cs typeface="+mn-cs"/>
        </a:defRPr>
      </a:lvl6pPr>
      <a:lvl7pPr marL="3521842" algn="l" defTabSz="1173947" rtl="0" eaLnBrk="1" latinLnBrk="0" hangingPunct="1">
        <a:defRPr sz="2300" kern="1200">
          <a:solidFill>
            <a:schemeClr val="tx1"/>
          </a:solidFill>
          <a:latin typeface="+mn-lt"/>
          <a:ea typeface="+mn-ea"/>
          <a:cs typeface="+mn-cs"/>
        </a:defRPr>
      </a:lvl7pPr>
      <a:lvl8pPr marL="4108814" algn="l" defTabSz="1173947" rtl="0" eaLnBrk="1" latinLnBrk="0" hangingPunct="1">
        <a:defRPr sz="2300" kern="1200">
          <a:solidFill>
            <a:schemeClr val="tx1"/>
          </a:solidFill>
          <a:latin typeface="+mn-lt"/>
          <a:ea typeface="+mn-ea"/>
          <a:cs typeface="+mn-cs"/>
        </a:defRPr>
      </a:lvl8pPr>
      <a:lvl9pPr marL="4695789" algn="l" defTabSz="1173947" rtl="0" eaLnBrk="1" latinLnBrk="0" hangingPunct="1">
        <a:defRPr sz="23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571705" y="396797"/>
            <a:ext cx="11791531" cy="71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GB" smtClean="0"/>
          </a:p>
        </p:txBody>
      </p:sp>
      <p:sp>
        <p:nvSpPr>
          <p:cNvPr id="1028" name="Text Placeholder 2"/>
          <p:cNvSpPr>
            <a:spLocks noGrp="1"/>
          </p:cNvSpPr>
          <p:nvPr>
            <p:ph type="body" idx="1"/>
          </p:nvPr>
        </p:nvSpPr>
        <p:spPr bwMode="auto">
          <a:xfrm>
            <a:off x="567659" y="1349100"/>
            <a:ext cx="11791531" cy="5915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7" name="Slide Number Placeholder 9"/>
          <p:cNvSpPr>
            <a:spLocks noGrp="1"/>
          </p:cNvSpPr>
          <p:nvPr>
            <p:ph type="sldNum" sz="quarter" idx="4"/>
          </p:nvPr>
        </p:nvSpPr>
        <p:spPr>
          <a:xfrm>
            <a:off x="581803" y="7427998"/>
            <a:ext cx="395947" cy="163480"/>
          </a:xfrm>
          <a:prstGeom prst="rect">
            <a:avLst/>
          </a:prstGeom>
        </p:spPr>
        <p:txBody>
          <a:bodyPr vert="horz" wrap="square" lIns="0" tIns="0" rIns="0" bIns="0" numCol="1" anchor="t" anchorCtr="0" compatLnSpc="1">
            <a:prstTxWarp prst="textNoShape">
              <a:avLst/>
            </a:prstTxWarp>
            <a:noAutofit/>
          </a:bodyPr>
          <a:lstStyle>
            <a:lvl1pPr>
              <a:defRPr sz="1020" b="1">
                <a:solidFill>
                  <a:schemeClr val="tx2"/>
                </a:solidFill>
              </a:defRPr>
            </a:lvl1pPr>
          </a:lstStyle>
          <a:p>
            <a:pPr algn="l" defTabSz="1034131" fontAlgn="auto">
              <a:spcBef>
                <a:spcPts val="0"/>
              </a:spcBef>
              <a:spcAft>
                <a:spcPts val="0"/>
              </a:spcAft>
            </a:pPr>
            <a:fld id="{E0CE75A5-5D6D-40C3-9373-C97AC06615CB}" type="slidenum">
              <a:rPr lang="en-GB" smtClean="0">
                <a:solidFill>
                  <a:srgbClr val="002776"/>
                </a:solidFill>
                <a:latin typeface="Arial"/>
              </a:rPr>
              <a:pPr algn="l" defTabSz="1034131" fontAlgn="auto">
                <a:spcBef>
                  <a:spcPts val="0"/>
                </a:spcBef>
                <a:spcAft>
                  <a:spcPts val="0"/>
                </a:spcAft>
              </a:pPr>
              <a:t>‹#›</a:t>
            </a:fld>
            <a:endParaRPr lang="en-GB" dirty="0">
              <a:solidFill>
                <a:srgbClr val="002776"/>
              </a:solidFill>
              <a:latin typeface="Arial"/>
            </a:endParaRPr>
          </a:p>
        </p:txBody>
      </p:sp>
      <p:sp>
        <p:nvSpPr>
          <p:cNvPr id="8" name="Line 40"/>
          <p:cNvSpPr>
            <a:spLocks noChangeShapeType="1"/>
          </p:cNvSpPr>
          <p:nvPr userDrawn="1"/>
        </p:nvSpPr>
        <p:spPr bwMode="auto">
          <a:xfrm>
            <a:off x="493401" y="863600"/>
            <a:ext cx="11745913" cy="0"/>
          </a:xfrm>
          <a:prstGeom prst="line">
            <a:avLst/>
          </a:prstGeom>
          <a:noFill/>
          <a:ln w="25400">
            <a:solidFill>
              <a:schemeClr val="accent1"/>
            </a:solidFill>
            <a:round/>
            <a:headEnd/>
            <a:tailEnd/>
          </a:ln>
          <a:effectLst/>
        </p:spPr>
        <p:txBody>
          <a:bodyPr wrap="none" lIns="103417" tIns="51707" rIns="103417" bIns="51707" anchor="ctr"/>
          <a:lstStyle/>
          <a:p>
            <a:pPr algn="l" defTabSz="1034131" fontAlgn="auto">
              <a:spcBef>
                <a:spcPts val="0"/>
              </a:spcBef>
              <a:spcAft>
                <a:spcPts val="0"/>
              </a:spcAft>
              <a:defRPr/>
            </a:pPr>
            <a:endParaRPr lang="en-US" sz="2040" b="0" dirty="0">
              <a:solidFill>
                <a:srgbClr val="000000"/>
              </a:solidFill>
              <a:latin typeface="Arial"/>
            </a:endParaRPr>
          </a:p>
        </p:txBody>
      </p:sp>
    </p:spTree>
    <p:extLst>
      <p:ext uri="{BB962C8B-B14F-4D97-AF65-F5344CB8AC3E}">
        <p14:creationId xmlns:p14="http://schemas.microsoft.com/office/powerpoint/2010/main" val="93627133"/>
      </p:ext>
    </p:extLst>
  </p:cSld>
  <p:clrMap bg1="lt1" tx1="dk1" bg2="lt2" tx2="dk2" accent1="accent1" accent2="accent2" accent3="accent3" accent4="accent4" accent5="accent5" accent6="accent6" hlink="hlink" folHlink="folHlink"/>
  <p:sldLayoutIdLst>
    <p:sldLayoutId id="2147484427" r:id="rId1"/>
    <p:sldLayoutId id="2147484428" r:id="rId2"/>
    <p:sldLayoutId id="2147484429" r:id="rId3"/>
    <p:sldLayoutId id="2147484430" r:id="rId4"/>
    <p:sldLayoutId id="2147484431" r:id="rId5"/>
    <p:sldLayoutId id="2147484432" r:id="rId6"/>
    <p:sldLayoutId id="2147484433" r:id="rId7"/>
    <p:sldLayoutId id="2147484434" r:id="rId8"/>
    <p:sldLayoutId id="2147484435" r:id="rId9"/>
    <p:sldLayoutId id="2147484436" r:id="rId10"/>
    <p:sldLayoutId id="2147484437" r:id="rId11"/>
  </p:sldLayoutIdLst>
  <p:timing>
    <p:tnLst>
      <p:par>
        <p:cTn id="1" dur="indefinite" restart="never" nodeType="tmRoot"/>
      </p:par>
    </p:tnLst>
  </p:timing>
  <p:hf hdr="0" dt="0"/>
  <p:txStyles>
    <p:titleStyle>
      <a:lvl1pPr algn="l" defTabSz="1034135" rtl="0" fontAlgn="base">
        <a:spcBef>
          <a:spcPct val="0"/>
        </a:spcBef>
        <a:spcAft>
          <a:spcPct val="0"/>
        </a:spcAft>
        <a:defRPr sz="2493" b="1">
          <a:solidFill>
            <a:schemeClr val="tx2"/>
          </a:solidFill>
          <a:latin typeface="+mj-lt"/>
          <a:ea typeface="+mj-ea"/>
          <a:cs typeface="+mj-cs"/>
        </a:defRPr>
      </a:lvl1pPr>
      <a:lvl2pPr algn="l" defTabSz="1034135" rtl="0" fontAlgn="base">
        <a:spcBef>
          <a:spcPct val="0"/>
        </a:spcBef>
        <a:spcAft>
          <a:spcPct val="0"/>
        </a:spcAft>
        <a:defRPr sz="2493" b="1">
          <a:solidFill>
            <a:schemeClr val="tx2"/>
          </a:solidFill>
          <a:latin typeface="Arial" charset="0"/>
        </a:defRPr>
      </a:lvl2pPr>
      <a:lvl3pPr algn="l" defTabSz="1034135" rtl="0" fontAlgn="base">
        <a:spcBef>
          <a:spcPct val="0"/>
        </a:spcBef>
        <a:spcAft>
          <a:spcPct val="0"/>
        </a:spcAft>
        <a:defRPr sz="2493" b="1">
          <a:solidFill>
            <a:schemeClr val="tx2"/>
          </a:solidFill>
          <a:latin typeface="Arial" charset="0"/>
        </a:defRPr>
      </a:lvl3pPr>
      <a:lvl4pPr algn="l" defTabSz="1034135" rtl="0" fontAlgn="base">
        <a:spcBef>
          <a:spcPct val="0"/>
        </a:spcBef>
        <a:spcAft>
          <a:spcPct val="0"/>
        </a:spcAft>
        <a:defRPr sz="2493" b="1">
          <a:solidFill>
            <a:schemeClr val="tx2"/>
          </a:solidFill>
          <a:latin typeface="Arial" charset="0"/>
        </a:defRPr>
      </a:lvl4pPr>
      <a:lvl5pPr algn="l" defTabSz="1034135" rtl="0" fontAlgn="base">
        <a:spcBef>
          <a:spcPct val="0"/>
        </a:spcBef>
        <a:spcAft>
          <a:spcPct val="0"/>
        </a:spcAft>
        <a:defRPr sz="2493" b="1">
          <a:solidFill>
            <a:schemeClr val="tx2"/>
          </a:solidFill>
          <a:latin typeface="Arial" charset="0"/>
        </a:defRPr>
      </a:lvl5pPr>
      <a:lvl6pPr marL="463913" algn="l" defTabSz="1034135" rtl="0" eaLnBrk="1" fontAlgn="base" hangingPunct="1">
        <a:lnSpc>
          <a:spcPts val="3457"/>
        </a:lnSpc>
        <a:spcBef>
          <a:spcPct val="0"/>
        </a:spcBef>
        <a:spcAft>
          <a:spcPct val="0"/>
        </a:spcAft>
        <a:defRPr sz="2493" b="1">
          <a:solidFill>
            <a:schemeClr val="tx2"/>
          </a:solidFill>
          <a:latin typeface="Arial" charset="0"/>
        </a:defRPr>
      </a:lvl6pPr>
      <a:lvl7pPr marL="927829" algn="l" defTabSz="1034135" rtl="0" eaLnBrk="1" fontAlgn="base" hangingPunct="1">
        <a:lnSpc>
          <a:spcPts val="3457"/>
        </a:lnSpc>
        <a:spcBef>
          <a:spcPct val="0"/>
        </a:spcBef>
        <a:spcAft>
          <a:spcPct val="0"/>
        </a:spcAft>
        <a:defRPr sz="2493" b="1">
          <a:solidFill>
            <a:schemeClr val="tx2"/>
          </a:solidFill>
          <a:latin typeface="Arial" charset="0"/>
        </a:defRPr>
      </a:lvl7pPr>
      <a:lvl8pPr marL="1391735" algn="l" defTabSz="1034135" rtl="0" eaLnBrk="1" fontAlgn="base" hangingPunct="1">
        <a:lnSpc>
          <a:spcPts val="3457"/>
        </a:lnSpc>
        <a:spcBef>
          <a:spcPct val="0"/>
        </a:spcBef>
        <a:spcAft>
          <a:spcPct val="0"/>
        </a:spcAft>
        <a:defRPr sz="2493" b="1">
          <a:solidFill>
            <a:schemeClr val="tx2"/>
          </a:solidFill>
          <a:latin typeface="Arial" charset="0"/>
        </a:defRPr>
      </a:lvl8pPr>
      <a:lvl9pPr marL="1855648" algn="l" defTabSz="1034135" rtl="0" eaLnBrk="1" fontAlgn="base" hangingPunct="1">
        <a:lnSpc>
          <a:spcPts val="3457"/>
        </a:lnSpc>
        <a:spcBef>
          <a:spcPct val="0"/>
        </a:spcBef>
        <a:spcAft>
          <a:spcPct val="0"/>
        </a:spcAft>
        <a:defRPr sz="2493" b="1">
          <a:solidFill>
            <a:schemeClr val="tx2"/>
          </a:solidFill>
          <a:latin typeface="Arial" charset="0"/>
        </a:defRPr>
      </a:lvl9pPr>
    </p:titleStyle>
    <p:bodyStyle>
      <a:lvl1pPr algn="l" defTabSz="1034135" rtl="0" fontAlgn="base">
        <a:spcBef>
          <a:spcPct val="0"/>
        </a:spcBef>
        <a:spcAft>
          <a:spcPts val="305"/>
        </a:spcAft>
        <a:buFont typeface="Arial" charset="0"/>
        <a:defRPr sz="2040">
          <a:solidFill>
            <a:schemeClr val="tx2"/>
          </a:solidFill>
          <a:latin typeface="+mn-lt"/>
          <a:ea typeface="+mn-ea"/>
          <a:cs typeface="+mn-cs"/>
        </a:defRPr>
      </a:lvl1pPr>
      <a:lvl2pPr marL="206184" indent="-206184" algn="l" defTabSz="1034135" rtl="0" fontAlgn="base">
        <a:spcBef>
          <a:spcPct val="0"/>
        </a:spcBef>
        <a:spcAft>
          <a:spcPts val="305"/>
        </a:spcAft>
        <a:buFont typeface="Arial" charset="0"/>
        <a:buChar char="•"/>
        <a:defRPr sz="2040">
          <a:solidFill>
            <a:schemeClr val="tx2"/>
          </a:solidFill>
          <a:latin typeface="+mn-lt"/>
        </a:defRPr>
      </a:lvl2pPr>
      <a:lvl3pPr marL="404314" indent="-198130" algn="l" defTabSz="1034135" rtl="0" fontAlgn="base">
        <a:spcBef>
          <a:spcPct val="0"/>
        </a:spcBef>
        <a:spcAft>
          <a:spcPts val="305"/>
        </a:spcAft>
        <a:buFont typeface="Arial" charset="0"/>
        <a:buChar char="‒"/>
        <a:defRPr sz="2040">
          <a:solidFill>
            <a:schemeClr val="tx2"/>
          </a:solidFill>
          <a:latin typeface="+mn-lt"/>
        </a:defRPr>
      </a:lvl3pPr>
      <a:lvl4pPr marL="610491" indent="-206184" algn="l" defTabSz="1034135" rtl="0" fontAlgn="base">
        <a:spcBef>
          <a:spcPct val="0"/>
        </a:spcBef>
        <a:spcAft>
          <a:spcPts val="610"/>
        </a:spcAft>
        <a:buFont typeface="Arial" charset="0"/>
        <a:buChar char="•"/>
        <a:defRPr>
          <a:solidFill>
            <a:schemeClr val="tx2"/>
          </a:solidFill>
          <a:latin typeface="+mn-lt"/>
        </a:defRPr>
      </a:lvl4pPr>
      <a:lvl5pPr marL="805403" indent="-194911" algn="l" defTabSz="1034135" rtl="0" fontAlgn="base">
        <a:spcBef>
          <a:spcPct val="0"/>
        </a:spcBef>
        <a:spcAft>
          <a:spcPts val="610"/>
        </a:spcAft>
        <a:buFont typeface="Arial" charset="0"/>
        <a:buChar char="‒"/>
        <a:defRPr>
          <a:solidFill>
            <a:schemeClr val="tx2"/>
          </a:solidFill>
          <a:latin typeface="+mn-lt"/>
        </a:defRPr>
      </a:lvl5pPr>
      <a:lvl6pPr marL="1269312" indent="-194911" algn="l" defTabSz="1034135" rtl="0" eaLnBrk="1" fontAlgn="base" hangingPunct="1">
        <a:spcBef>
          <a:spcPct val="0"/>
        </a:spcBef>
        <a:spcAft>
          <a:spcPts val="610"/>
        </a:spcAft>
        <a:buFont typeface="Arial" charset="0"/>
        <a:buChar char="‒"/>
        <a:defRPr>
          <a:solidFill>
            <a:schemeClr val="tx2"/>
          </a:solidFill>
          <a:latin typeface="+mn-lt"/>
        </a:defRPr>
      </a:lvl6pPr>
      <a:lvl7pPr marL="1733229" indent="-194911" algn="l" defTabSz="1034135" rtl="0" eaLnBrk="1" fontAlgn="base" hangingPunct="1">
        <a:spcBef>
          <a:spcPct val="0"/>
        </a:spcBef>
        <a:spcAft>
          <a:spcPts val="610"/>
        </a:spcAft>
        <a:buFont typeface="Arial" charset="0"/>
        <a:buChar char="‒"/>
        <a:defRPr>
          <a:solidFill>
            <a:schemeClr val="tx2"/>
          </a:solidFill>
          <a:latin typeface="+mn-lt"/>
        </a:defRPr>
      </a:lvl7pPr>
      <a:lvl8pPr marL="2197137" indent="-194911" algn="l" defTabSz="1034135" rtl="0" eaLnBrk="1" fontAlgn="base" hangingPunct="1">
        <a:spcBef>
          <a:spcPct val="0"/>
        </a:spcBef>
        <a:spcAft>
          <a:spcPts val="610"/>
        </a:spcAft>
        <a:buFont typeface="Arial" charset="0"/>
        <a:buChar char="‒"/>
        <a:defRPr>
          <a:solidFill>
            <a:schemeClr val="tx2"/>
          </a:solidFill>
          <a:latin typeface="+mn-lt"/>
        </a:defRPr>
      </a:lvl8pPr>
      <a:lvl9pPr marL="2661051" indent="-194911" algn="l" defTabSz="1034135" rtl="0" eaLnBrk="1" fontAlgn="base" hangingPunct="1">
        <a:spcBef>
          <a:spcPct val="0"/>
        </a:spcBef>
        <a:spcAft>
          <a:spcPts val="610"/>
        </a:spcAft>
        <a:buFont typeface="Arial" charset="0"/>
        <a:buChar char="‒"/>
        <a:defRPr>
          <a:solidFill>
            <a:schemeClr val="tx2"/>
          </a:solidFill>
          <a:latin typeface="+mn-lt"/>
        </a:defRPr>
      </a:lvl9pPr>
    </p:bodyStyle>
    <p:otherStyle>
      <a:defPPr>
        <a:defRPr lang="en-US"/>
      </a:defPPr>
      <a:lvl1pPr marL="0" algn="l" defTabSz="927829" rtl="0" eaLnBrk="1" latinLnBrk="0" hangingPunct="1">
        <a:defRPr sz="1813" kern="1200">
          <a:solidFill>
            <a:schemeClr val="tx1"/>
          </a:solidFill>
          <a:latin typeface="+mn-lt"/>
          <a:ea typeface="+mn-ea"/>
          <a:cs typeface="+mn-cs"/>
        </a:defRPr>
      </a:lvl1pPr>
      <a:lvl2pPr marL="463913" algn="l" defTabSz="927829" rtl="0" eaLnBrk="1" latinLnBrk="0" hangingPunct="1">
        <a:defRPr sz="1813" kern="1200">
          <a:solidFill>
            <a:schemeClr val="tx1"/>
          </a:solidFill>
          <a:latin typeface="+mn-lt"/>
          <a:ea typeface="+mn-ea"/>
          <a:cs typeface="+mn-cs"/>
        </a:defRPr>
      </a:lvl2pPr>
      <a:lvl3pPr marL="927829" algn="l" defTabSz="927829" rtl="0" eaLnBrk="1" latinLnBrk="0" hangingPunct="1">
        <a:defRPr sz="1813" kern="1200">
          <a:solidFill>
            <a:schemeClr val="tx1"/>
          </a:solidFill>
          <a:latin typeface="+mn-lt"/>
          <a:ea typeface="+mn-ea"/>
          <a:cs typeface="+mn-cs"/>
        </a:defRPr>
      </a:lvl3pPr>
      <a:lvl4pPr marL="1391735" algn="l" defTabSz="927829" rtl="0" eaLnBrk="1" latinLnBrk="0" hangingPunct="1">
        <a:defRPr sz="1813" kern="1200">
          <a:solidFill>
            <a:schemeClr val="tx1"/>
          </a:solidFill>
          <a:latin typeface="+mn-lt"/>
          <a:ea typeface="+mn-ea"/>
          <a:cs typeface="+mn-cs"/>
        </a:defRPr>
      </a:lvl4pPr>
      <a:lvl5pPr marL="1855648" algn="l" defTabSz="927829" rtl="0" eaLnBrk="1" latinLnBrk="0" hangingPunct="1">
        <a:defRPr sz="1813" kern="1200">
          <a:solidFill>
            <a:schemeClr val="tx1"/>
          </a:solidFill>
          <a:latin typeface="+mn-lt"/>
          <a:ea typeface="+mn-ea"/>
          <a:cs typeface="+mn-cs"/>
        </a:defRPr>
      </a:lvl5pPr>
      <a:lvl6pPr marL="2319558" algn="l" defTabSz="927829" rtl="0" eaLnBrk="1" latinLnBrk="0" hangingPunct="1">
        <a:defRPr sz="1813" kern="1200">
          <a:solidFill>
            <a:schemeClr val="tx1"/>
          </a:solidFill>
          <a:latin typeface="+mn-lt"/>
          <a:ea typeface="+mn-ea"/>
          <a:cs typeface="+mn-cs"/>
        </a:defRPr>
      </a:lvl6pPr>
      <a:lvl7pPr marL="2783471" algn="l" defTabSz="927829" rtl="0" eaLnBrk="1" latinLnBrk="0" hangingPunct="1">
        <a:defRPr sz="1813" kern="1200">
          <a:solidFill>
            <a:schemeClr val="tx1"/>
          </a:solidFill>
          <a:latin typeface="+mn-lt"/>
          <a:ea typeface="+mn-ea"/>
          <a:cs typeface="+mn-cs"/>
        </a:defRPr>
      </a:lvl7pPr>
      <a:lvl8pPr marL="3247382" algn="l" defTabSz="927829" rtl="0" eaLnBrk="1" latinLnBrk="0" hangingPunct="1">
        <a:defRPr sz="1813" kern="1200">
          <a:solidFill>
            <a:schemeClr val="tx1"/>
          </a:solidFill>
          <a:latin typeface="+mn-lt"/>
          <a:ea typeface="+mn-ea"/>
          <a:cs typeface="+mn-cs"/>
        </a:defRPr>
      </a:lvl8pPr>
      <a:lvl9pPr marL="3711295" algn="l" defTabSz="927829" rtl="0" eaLnBrk="1" latinLnBrk="0" hangingPunct="1">
        <a:defRPr sz="181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8" name="Rectangle 17"/>
          <p:cNvSpPr>
            <a:spLocks noChangeArrowheads="1"/>
          </p:cNvSpPr>
          <p:nvPr/>
        </p:nvSpPr>
        <p:spPr bwMode="gray">
          <a:xfrm>
            <a:off x="8352155" y="7527492"/>
            <a:ext cx="3884930" cy="138499"/>
          </a:xfrm>
          <a:prstGeom prst="rect">
            <a:avLst/>
          </a:prstGeom>
          <a:noFill/>
          <a:ln w="25400" algn="ctr">
            <a:noFill/>
            <a:miter lim="800000"/>
            <a:headEnd/>
            <a:tailEnd/>
          </a:ln>
        </p:spPr>
        <p:txBody>
          <a:bodyPr lIns="0" tIns="0" rIns="0" bIns="0" anchor="b">
            <a:spAutoFit/>
          </a:bodyPr>
          <a:lstStyle/>
          <a:p>
            <a:pPr algn="r">
              <a:spcBef>
                <a:spcPct val="0"/>
              </a:spcBef>
            </a:pPr>
            <a:r>
              <a:rPr lang="en-US" sz="900" b="0" dirty="0">
                <a:solidFill>
                  <a:srgbClr val="002776"/>
                </a:solidFill>
                <a:latin typeface="Calibri" pitchFamily="34" charset="0"/>
                <a:cs typeface="Calibri" pitchFamily="34" charset="0"/>
              </a:rPr>
              <a:t>Copyright © </a:t>
            </a:r>
            <a:r>
              <a:rPr lang="en-US" sz="900" b="0" dirty="0" smtClean="0">
                <a:solidFill>
                  <a:srgbClr val="002776"/>
                </a:solidFill>
                <a:latin typeface="Calibri" pitchFamily="34" charset="0"/>
                <a:cs typeface="Calibri" pitchFamily="34" charset="0"/>
              </a:rPr>
              <a:t>2013 Deloitte </a:t>
            </a:r>
            <a:r>
              <a:rPr lang="en-US" sz="900" b="0" dirty="0">
                <a:solidFill>
                  <a:srgbClr val="002776"/>
                </a:solidFill>
                <a:latin typeface="Calibri" pitchFamily="34" charset="0"/>
                <a:cs typeface="Calibri" pitchFamily="34" charset="0"/>
              </a:rPr>
              <a:t>Development LLC. </a:t>
            </a:r>
            <a:r>
              <a:rPr lang="en-US" sz="900" b="0" dirty="0" smtClean="0">
                <a:solidFill>
                  <a:srgbClr val="002776"/>
                </a:solidFill>
                <a:latin typeface="Calibri" pitchFamily="34" charset="0"/>
                <a:cs typeface="Calibri" pitchFamily="34" charset="0"/>
              </a:rPr>
              <a:t>All rights reserved.</a:t>
            </a:r>
            <a:endParaRPr lang="en-US" sz="900" b="0" dirty="0">
              <a:solidFill>
                <a:srgbClr val="002776"/>
              </a:solidFill>
              <a:latin typeface="Calibri" pitchFamily="34" charset="0"/>
              <a:cs typeface="Calibri" pitchFamily="34" charset="0"/>
            </a:endParaRPr>
          </a:p>
        </p:txBody>
      </p:sp>
      <p:sp>
        <p:nvSpPr>
          <p:cNvPr id="19" name="Slide Number Placeholder 9"/>
          <p:cNvSpPr>
            <a:spLocks/>
          </p:cNvSpPr>
          <p:nvPr/>
        </p:nvSpPr>
        <p:spPr bwMode="gray">
          <a:xfrm>
            <a:off x="580075" y="7498226"/>
            <a:ext cx="375602" cy="184666"/>
          </a:xfrm>
          <a:prstGeom prst="rect">
            <a:avLst/>
          </a:prstGeom>
          <a:noFill/>
          <a:ln w="9525">
            <a:noFill/>
            <a:miter lim="800000"/>
            <a:headEnd/>
            <a:tailEnd/>
          </a:ln>
        </p:spPr>
        <p:txBody>
          <a:bodyPr lIns="0" tIns="0" rIns="0" bIns="0" anchor="b">
            <a:spAutoFit/>
          </a:bodyPr>
          <a:lstStyle/>
          <a:p>
            <a:pPr algn="l">
              <a:spcBef>
                <a:spcPct val="0"/>
              </a:spcBef>
            </a:pPr>
            <a:fld id="{86C77FDF-45C5-4665-AAEE-45520AE6BEA9}" type="slidenum">
              <a:rPr lang="en-US">
                <a:solidFill>
                  <a:srgbClr val="002776"/>
                </a:solidFill>
                <a:latin typeface="Calibri" pitchFamily="34" charset="0"/>
                <a:cs typeface="Calibri" pitchFamily="34" charset="0"/>
              </a:rPr>
              <a:pPr algn="l">
                <a:spcBef>
                  <a:spcPct val="0"/>
                </a:spcBef>
              </a:pPr>
              <a:t>‹#›</a:t>
            </a:fld>
            <a:endParaRPr lang="en-US" dirty="0">
              <a:solidFill>
                <a:srgbClr val="002776"/>
              </a:solidFill>
              <a:latin typeface="Calibri" pitchFamily="34" charset="0"/>
              <a:cs typeface="Calibri" pitchFamily="34" charset="0"/>
            </a:endParaRPr>
          </a:p>
        </p:txBody>
      </p:sp>
      <p:sp>
        <p:nvSpPr>
          <p:cNvPr id="20" name="Footer Placeholder 10"/>
          <p:cNvSpPr>
            <a:spLocks/>
          </p:cNvSpPr>
          <p:nvPr/>
        </p:nvSpPr>
        <p:spPr bwMode="gray">
          <a:xfrm>
            <a:off x="1124585" y="7498226"/>
            <a:ext cx="6045200" cy="184666"/>
          </a:xfrm>
          <a:prstGeom prst="rect">
            <a:avLst/>
          </a:prstGeom>
          <a:noFill/>
          <a:ln w="9525">
            <a:noFill/>
            <a:miter lim="800000"/>
            <a:headEnd/>
            <a:tailEnd/>
          </a:ln>
        </p:spPr>
        <p:txBody>
          <a:bodyPr lIns="0" tIns="0" rIns="0" bIns="0" anchor="b">
            <a:spAutoFit/>
          </a:bodyPr>
          <a:lstStyle/>
          <a:p>
            <a:pPr algn="l">
              <a:spcBef>
                <a:spcPct val="0"/>
              </a:spcBef>
            </a:pPr>
            <a:r>
              <a:rPr lang="en-US" b="0" dirty="0" smtClean="0">
                <a:solidFill>
                  <a:srgbClr val="002776"/>
                </a:solidFill>
                <a:latin typeface="Calibri" pitchFamily="34" charset="0"/>
                <a:cs typeface="Calibri" pitchFamily="34" charset="0"/>
              </a:rPr>
              <a:t>Perspective on cyber security | Executive Overview</a:t>
            </a:r>
            <a:endParaRPr lang="en-US" b="0" dirty="0">
              <a:solidFill>
                <a:srgbClr val="002776"/>
              </a:solidFill>
              <a:latin typeface="Calibri" pitchFamily="34" charset="0"/>
              <a:cs typeface="Calibri" pitchFamily="34" charset="0"/>
            </a:endParaRPr>
          </a:p>
        </p:txBody>
      </p:sp>
      <p:sp>
        <p:nvSpPr>
          <p:cNvPr id="11"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433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16" name="Text Placeholder 15"/>
          <p:cNvSpPr>
            <a:spLocks noGrp="1"/>
          </p:cNvSpPr>
          <p:nvPr>
            <p:ph type="body" idx="1"/>
          </p:nvPr>
        </p:nvSpPr>
        <p:spPr bwMode="gray">
          <a:xfrm>
            <a:off x="576072" y="1586865"/>
            <a:ext cx="11662258" cy="1933863"/>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75539"/>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Lst>
  <p:timing>
    <p:tnLst>
      <p:par>
        <p:cTn id="1" dur="indefinite" restart="never" nodeType="tmRoot"/>
      </p:par>
    </p:tnLst>
  </p:timing>
  <p:hf hdr="0" dt="0"/>
  <p:txStyles>
    <p:titleStyle>
      <a:lvl1pPr algn="l" rtl="0" eaLnBrk="1" fontAlgn="base" hangingPunct="1">
        <a:lnSpc>
          <a:spcPts val="3343"/>
        </a:lnSpc>
        <a:spcBef>
          <a:spcPct val="0"/>
        </a:spcBef>
        <a:spcAft>
          <a:spcPct val="0"/>
        </a:spcAft>
        <a:defRPr kumimoji="0" lang="en-US" sz="3100" b="1" i="0" u="none" strike="noStrike" kern="1200" cap="none" spc="0" normalizeH="0" baseline="0" noProof="0" dirty="0" smtClean="0">
          <a:ln>
            <a:noFill/>
          </a:ln>
          <a:solidFill>
            <a:schemeClr val="tx2"/>
          </a:solidFill>
          <a:effectLst/>
          <a:uLnTx/>
          <a:uFillTx/>
          <a:latin typeface="Calibri" pitchFamily="34" charset="0"/>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587168" algn="l" rtl="0" eaLnBrk="1" fontAlgn="base" hangingPunct="1">
        <a:spcBef>
          <a:spcPct val="0"/>
        </a:spcBef>
        <a:spcAft>
          <a:spcPct val="0"/>
        </a:spcAft>
        <a:defRPr sz="3100" b="1">
          <a:solidFill>
            <a:schemeClr val="accent1"/>
          </a:solidFill>
          <a:latin typeface="Arial" charset="0"/>
        </a:defRPr>
      </a:lvl6pPr>
      <a:lvl7pPr marL="1174339" algn="l" rtl="0" eaLnBrk="1" fontAlgn="base" hangingPunct="1">
        <a:spcBef>
          <a:spcPct val="0"/>
        </a:spcBef>
        <a:spcAft>
          <a:spcPct val="0"/>
        </a:spcAft>
        <a:defRPr sz="3100" b="1">
          <a:solidFill>
            <a:schemeClr val="accent1"/>
          </a:solidFill>
          <a:latin typeface="Arial" charset="0"/>
        </a:defRPr>
      </a:lvl7pPr>
      <a:lvl8pPr marL="1761509" algn="l" rtl="0" eaLnBrk="1" fontAlgn="base" hangingPunct="1">
        <a:spcBef>
          <a:spcPct val="0"/>
        </a:spcBef>
        <a:spcAft>
          <a:spcPct val="0"/>
        </a:spcAft>
        <a:defRPr sz="3100" b="1">
          <a:solidFill>
            <a:schemeClr val="accent1"/>
          </a:solidFill>
          <a:latin typeface="Arial" charset="0"/>
        </a:defRPr>
      </a:lvl8pPr>
      <a:lvl9pPr marL="2348678" algn="l" rtl="0" eaLnBrk="1" fontAlgn="base" hangingPunct="1">
        <a:spcBef>
          <a:spcPct val="0"/>
        </a:spcBef>
        <a:spcAft>
          <a:spcPct val="0"/>
        </a:spcAft>
        <a:defRPr sz="3100" b="1">
          <a:solidFill>
            <a:schemeClr val="accent1"/>
          </a:solidFill>
          <a:latin typeface="Arial" charset="0"/>
        </a:defRPr>
      </a:lvl9pPr>
    </p:titleStyle>
    <p:bodyStyle>
      <a:lvl1pPr marR="0" indent="0" algn="l" defTabSz="1174339" rtl="0" eaLnBrk="1" fontAlgn="base" latinLnBrk="0" hangingPunct="1">
        <a:lnSpc>
          <a:spcPct val="100000"/>
        </a:lnSpc>
        <a:spcBef>
          <a:spcPts val="2829"/>
        </a:spcBef>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L="224267" marR="0" indent="-224267" algn="l" defTabSz="1174339" rtl="0" eaLnBrk="1" fontAlgn="base" latinLnBrk="0" hangingPunct="1">
        <a:lnSpc>
          <a:spcPct val="100000"/>
        </a:lnSpc>
        <a:spcBef>
          <a:spcPts val="514"/>
        </a:spcBef>
        <a:spcAft>
          <a:spcPct val="0"/>
        </a:spcAft>
        <a:buFont typeface="Arial" pitchFamily="34" charset="0"/>
        <a:buChar char="•"/>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L="438338" indent="-220189" algn="l" rtl="0" eaLnBrk="1" fontAlgn="base" hangingPunct="1">
        <a:lnSpc>
          <a:spcPct val="100000"/>
        </a:lnSpc>
        <a:spcBef>
          <a:spcPts val="514"/>
        </a:spcBef>
        <a:spcAft>
          <a:spcPct val="0"/>
        </a:spcAft>
        <a:buFont typeface="Arial" pitchFamily="34" charset="0"/>
        <a:buChar char="–"/>
        <a:defRPr lang="en-US" sz="2100" kern="1200" dirty="0" smtClean="0">
          <a:solidFill>
            <a:schemeClr val="tx2"/>
          </a:solidFill>
          <a:latin typeface="Calibri" pitchFamily="34" charset="0"/>
          <a:ea typeface="+mn-ea"/>
          <a:cs typeface="+mn-cs"/>
        </a:defRPr>
      </a:lvl3pPr>
      <a:lvl4pPr marL="662603" marR="0" indent="-224267" algn="l" defTabSz="1174339" rtl="0" eaLnBrk="1" fontAlgn="base" latinLnBrk="0" hangingPunct="1">
        <a:lnSpc>
          <a:spcPct val="100000"/>
        </a:lnSpc>
        <a:spcBef>
          <a:spcPts val="514"/>
        </a:spcBef>
        <a:spcAft>
          <a:spcPct val="0"/>
        </a:spcAft>
        <a:buFont typeface="Arial" pitchFamily="34" charset="0"/>
        <a:buChar char="•"/>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L="884825" marR="0" indent="-222229" algn="l" defTabSz="1174339" rtl="0" eaLnBrk="1" fontAlgn="base" latinLnBrk="0" hangingPunct="1">
        <a:lnSpc>
          <a:spcPct val="100000"/>
        </a:lnSpc>
        <a:spcBef>
          <a:spcPts val="514"/>
        </a:spcBef>
        <a:spcAft>
          <a:spcPct val="0"/>
        </a:spcAft>
        <a:buFont typeface="Arial" pitchFamily="34" charset="0"/>
        <a:buChar char="–"/>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5pPr>
      <a:lvl6pPr marL="856289" marR="0" indent="-214072" algn="l" defTabSz="1174339" rtl="0" eaLnBrk="1" fontAlgn="base" latinLnBrk="0" hangingPunct="1">
        <a:lnSpc>
          <a:spcPct val="100000"/>
        </a:lnSpc>
        <a:spcBef>
          <a:spcPts val="514"/>
        </a:spcBef>
        <a:spcAft>
          <a:spcPct val="0"/>
        </a:spcAft>
        <a:buFont typeface="Arial" pitchFamily="34" charset="0"/>
        <a:buChar char="–"/>
        <a:tabLst/>
        <a:defRPr kumimoji="0" lang="en-US" sz="13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386370" indent="-236494" algn="l" defTabSz="1174339" rtl="0" eaLnBrk="1" latinLnBrk="0" hangingPunct="1">
        <a:spcBef>
          <a:spcPts val="0"/>
        </a:spcBef>
        <a:spcAft>
          <a:spcPts val="386"/>
        </a:spcAft>
        <a:buFont typeface="Arial" pitchFamily="34" charset="0"/>
        <a:buChar char="‒"/>
        <a:defRPr sz="1800" kern="1200">
          <a:solidFill>
            <a:schemeClr val="accent1"/>
          </a:solidFill>
          <a:latin typeface="+mn-lt"/>
          <a:ea typeface="+mn-ea"/>
          <a:cs typeface="+mn-cs"/>
        </a:defRPr>
      </a:lvl7pPr>
      <a:lvl8pPr marL="1608601" indent="-222229" algn="l" defTabSz="1174339" rtl="0" eaLnBrk="1" latinLnBrk="0" hangingPunct="1">
        <a:spcBef>
          <a:spcPts val="0"/>
        </a:spcBef>
        <a:spcAft>
          <a:spcPts val="386"/>
        </a:spcAft>
        <a:buFont typeface="Arial" pitchFamily="34" charset="0"/>
        <a:buChar char="•"/>
        <a:defRPr sz="1800" kern="1200">
          <a:solidFill>
            <a:schemeClr val="accent1"/>
          </a:solidFill>
          <a:latin typeface="+mn-lt"/>
          <a:ea typeface="+mn-ea"/>
          <a:cs typeface="+mn-cs"/>
        </a:defRPr>
      </a:lvl8pPr>
      <a:lvl9pPr marL="1843059" indent="-234456" algn="l" defTabSz="1174339" rtl="0" eaLnBrk="1" latinLnBrk="0" hangingPunct="1">
        <a:spcBef>
          <a:spcPts val="0"/>
        </a:spcBef>
        <a:spcAft>
          <a:spcPts val="386"/>
        </a:spcAft>
        <a:buFont typeface="Arial" pitchFamily="34" charset="0"/>
        <a:buChar char="‒"/>
        <a:defRPr sz="1800" kern="1200">
          <a:solidFill>
            <a:schemeClr val="accent1"/>
          </a:solidFill>
          <a:latin typeface="+mn-lt"/>
          <a:ea typeface="+mn-ea"/>
          <a:cs typeface="+mn-cs"/>
        </a:defRPr>
      </a:lvl9pPr>
    </p:bodyStyle>
    <p:otherStyle>
      <a:defPPr>
        <a:defRPr lang="en-US"/>
      </a:defPPr>
      <a:lvl1pPr marL="0" algn="l" defTabSz="1174339" rtl="0" eaLnBrk="1" latinLnBrk="0" hangingPunct="1">
        <a:defRPr sz="2300" kern="1200">
          <a:solidFill>
            <a:schemeClr val="tx1"/>
          </a:solidFill>
          <a:latin typeface="+mn-lt"/>
          <a:ea typeface="+mn-ea"/>
          <a:cs typeface="+mn-cs"/>
        </a:defRPr>
      </a:lvl1pPr>
      <a:lvl2pPr marL="587168" algn="l" defTabSz="1174339" rtl="0" eaLnBrk="1" latinLnBrk="0" hangingPunct="1">
        <a:defRPr sz="2300" kern="1200">
          <a:solidFill>
            <a:schemeClr val="tx1"/>
          </a:solidFill>
          <a:latin typeface="+mn-lt"/>
          <a:ea typeface="+mn-ea"/>
          <a:cs typeface="+mn-cs"/>
        </a:defRPr>
      </a:lvl2pPr>
      <a:lvl3pPr marL="1174339" algn="l" defTabSz="1174339" rtl="0" eaLnBrk="1" latinLnBrk="0" hangingPunct="1">
        <a:defRPr sz="2300" kern="1200">
          <a:solidFill>
            <a:schemeClr val="tx1"/>
          </a:solidFill>
          <a:latin typeface="+mn-lt"/>
          <a:ea typeface="+mn-ea"/>
          <a:cs typeface="+mn-cs"/>
        </a:defRPr>
      </a:lvl3pPr>
      <a:lvl4pPr marL="1761509" algn="l" defTabSz="1174339" rtl="0" eaLnBrk="1" latinLnBrk="0" hangingPunct="1">
        <a:defRPr sz="2300" kern="1200">
          <a:solidFill>
            <a:schemeClr val="tx1"/>
          </a:solidFill>
          <a:latin typeface="+mn-lt"/>
          <a:ea typeface="+mn-ea"/>
          <a:cs typeface="+mn-cs"/>
        </a:defRPr>
      </a:lvl4pPr>
      <a:lvl5pPr marL="2348678" algn="l" defTabSz="1174339" rtl="0" eaLnBrk="1" latinLnBrk="0" hangingPunct="1">
        <a:defRPr sz="2300" kern="1200">
          <a:solidFill>
            <a:schemeClr val="tx1"/>
          </a:solidFill>
          <a:latin typeface="+mn-lt"/>
          <a:ea typeface="+mn-ea"/>
          <a:cs typeface="+mn-cs"/>
        </a:defRPr>
      </a:lvl5pPr>
      <a:lvl6pPr marL="2935845" algn="l" defTabSz="1174339" rtl="0" eaLnBrk="1" latinLnBrk="0" hangingPunct="1">
        <a:defRPr sz="2300" kern="1200">
          <a:solidFill>
            <a:schemeClr val="tx1"/>
          </a:solidFill>
          <a:latin typeface="+mn-lt"/>
          <a:ea typeface="+mn-ea"/>
          <a:cs typeface="+mn-cs"/>
        </a:defRPr>
      </a:lvl6pPr>
      <a:lvl7pPr marL="3523016" algn="l" defTabSz="1174339" rtl="0" eaLnBrk="1" latinLnBrk="0" hangingPunct="1">
        <a:defRPr sz="2300" kern="1200">
          <a:solidFill>
            <a:schemeClr val="tx1"/>
          </a:solidFill>
          <a:latin typeface="+mn-lt"/>
          <a:ea typeface="+mn-ea"/>
          <a:cs typeface="+mn-cs"/>
        </a:defRPr>
      </a:lvl7pPr>
      <a:lvl8pPr marL="4110185" algn="l" defTabSz="1174339" rtl="0" eaLnBrk="1" latinLnBrk="0" hangingPunct="1">
        <a:defRPr sz="2300" kern="1200">
          <a:solidFill>
            <a:schemeClr val="tx1"/>
          </a:solidFill>
          <a:latin typeface="+mn-lt"/>
          <a:ea typeface="+mn-ea"/>
          <a:cs typeface="+mn-cs"/>
        </a:defRPr>
      </a:lvl8pPr>
      <a:lvl9pPr marL="4697355" algn="l" defTabSz="1174339" rtl="0" eaLnBrk="1" latinLnBrk="0" hangingPunct="1">
        <a:defRPr sz="2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71704" y="396797"/>
            <a:ext cx="11791531" cy="71422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567659" y="1349111"/>
            <a:ext cx="11791531" cy="591540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Slide Number Placeholder 9"/>
          <p:cNvSpPr>
            <a:spLocks noGrp="1"/>
          </p:cNvSpPr>
          <p:nvPr>
            <p:ph type="sldNum" sz="quarter" idx="4"/>
          </p:nvPr>
        </p:nvSpPr>
        <p:spPr>
          <a:xfrm>
            <a:off x="581815" y="7466374"/>
            <a:ext cx="395947" cy="163480"/>
          </a:xfrm>
          <a:prstGeom prst="rect">
            <a:avLst/>
          </a:prstGeom>
        </p:spPr>
        <p:txBody>
          <a:bodyPr vert="horz" wrap="square" lIns="0" tIns="0" rIns="0" bIns="0" numCol="1" anchor="t" anchorCtr="0" compatLnSpc="1">
            <a:prstTxWarp prst="textNoShape">
              <a:avLst/>
            </a:prstTxWarp>
            <a:noAutofit/>
          </a:bodyPr>
          <a:lstStyle>
            <a:lvl1pPr>
              <a:lnSpc>
                <a:spcPts val="1200"/>
              </a:lnSpc>
              <a:defRPr sz="800" b="1">
                <a:solidFill>
                  <a:schemeClr val="tx2"/>
                </a:solidFill>
              </a:defRPr>
            </a:lvl1pPr>
          </a:lstStyle>
          <a:p>
            <a:pPr algn="l">
              <a:spcBef>
                <a:spcPct val="0"/>
              </a:spcBef>
              <a:defRPr/>
            </a:pPr>
            <a:fld id="{C3EDEE9B-B57B-4226-AC61-A2902BB08090}" type="slidenum">
              <a:rPr lang="en-US" smtClean="0">
                <a:solidFill>
                  <a:srgbClr val="002776"/>
                </a:solidFill>
                <a:latin typeface="Arial" charset="0"/>
                <a:cs typeface="Arial" charset="0"/>
              </a:rPr>
              <a:pPr algn="l">
                <a:spcBef>
                  <a:spcPct val="0"/>
                </a:spcBef>
                <a:defRPr/>
              </a:pPr>
              <a:t>‹#›</a:t>
            </a:fld>
            <a:endParaRPr lang="en-US" dirty="0">
              <a:solidFill>
                <a:srgbClr val="002776"/>
              </a:solidFill>
              <a:latin typeface="Arial" charset="0"/>
              <a:cs typeface="Arial" charset="0"/>
            </a:endParaRPr>
          </a:p>
        </p:txBody>
      </p:sp>
      <p:sp>
        <p:nvSpPr>
          <p:cNvPr id="1029" name="Rectangle 7"/>
          <p:cNvSpPr>
            <a:spLocks noChangeArrowheads="1"/>
          </p:cNvSpPr>
          <p:nvPr/>
        </p:nvSpPr>
        <p:spPr bwMode="auto">
          <a:xfrm>
            <a:off x="8957281" y="7466374"/>
            <a:ext cx="3238278" cy="163480"/>
          </a:xfrm>
          <a:prstGeom prst="rect">
            <a:avLst/>
          </a:prstGeom>
          <a:noFill/>
          <a:ln w="25400" algn="ctr">
            <a:noFill/>
            <a:miter lim="800000"/>
            <a:headEnd/>
            <a:tailEnd/>
          </a:ln>
        </p:spPr>
        <p:txBody>
          <a:bodyPr lIns="0" tIns="0" rIns="0" bIns="0"/>
          <a:lstStyle/>
          <a:p>
            <a:pPr algn="r" defTabSz="1016131">
              <a:lnSpc>
                <a:spcPts val="1200"/>
              </a:lnSpc>
              <a:spcBef>
                <a:spcPct val="0"/>
              </a:spcBef>
            </a:pPr>
            <a:r>
              <a:rPr lang="en-US" sz="800" b="0" dirty="0" smtClean="0">
                <a:solidFill>
                  <a:srgbClr val="002776"/>
                </a:solidFill>
                <a:latin typeface="Arial" charset="0"/>
                <a:cs typeface="Arial" charset="0"/>
              </a:rPr>
              <a:t>© 2012 Deloitte </a:t>
            </a:r>
            <a:r>
              <a:rPr lang="en-US" sz="800" b="0" dirty="0">
                <a:solidFill>
                  <a:srgbClr val="002776"/>
                </a:solidFill>
                <a:latin typeface="Arial" charset="0"/>
                <a:cs typeface="Arial" charset="0"/>
              </a:rPr>
              <a:t>Touche Tohmatsu</a:t>
            </a:r>
          </a:p>
        </p:txBody>
      </p:sp>
    </p:spTree>
    <p:extLst>
      <p:ext uri="{BB962C8B-B14F-4D97-AF65-F5344CB8AC3E}">
        <p14:creationId xmlns:p14="http://schemas.microsoft.com/office/powerpoint/2010/main" val="4041315503"/>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Lst>
  <p:timing>
    <p:tnLst>
      <p:par>
        <p:cTn id="1" dur="indefinite" restart="never" nodeType="tmRoot"/>
      </p:par>
    </p:tnLst>
  </p:timing>
  <p:hf hdr="0" dt="0"/>
  <p:txStyles>
    <p:titleStyle>
      <a:lvl1pPr algn="l" defTabSz="1016131" rtl="0" eaLnBrk="0" fontAlgn="base" hangingPunct="0">
        <a:lnSpc>
          <a:spcPts val="3398"/>
        </a:lnSpc>
        <a:spcBef>
          <a:spcPct val="0"/>
        </a:spcBef>
        <a:spcAft>
          <a:spcPct val="0"/>
        </a:spcAft>
        <a:defRPr sz="2400" b="1">
          <a:solidFill>
            <a:schemeClr val="tx2"/>
          </a:solidFill>
          <a:latin typeface="+mj-lt"/>
          <a:ea typeface="+mj-ea"/>
          <a:cs typeface="+mj-cs"/>
        </a:defRPr>
      </a:lvl1pPr>
      <a:lvl2pPr algn="l" defTabSz="1016131" rtl="0" eaLnBrk="0" fontAlgn="base" hangingPunct="0">
        <a:lnSpc>
          <a:spcPts val="3398"/>
        </a:lnSpc>
        <a:spcBef>
          <a:spcPct val="0"/>
        </a:spcBef>
        <a:spcAft>
          <a:spcPct val="0"/>
        </a:spcAft>
        <a:defRPr sz="2400" b="1">
          <a:solidFill>
            <a:schemeClr val="tx2"/>
          </a:solidFill>
          <a:latin typeface="Arial" charset="0"/>
        </a:defRPr>
      </a:lvl2pPr>
      <a:lvl3pPr algn="l" defTabSz="1016131" rtl="0" eaLnBrk="0" fontAlgn="base" hangingPunct="0">
        <a:lnSpc>
          <a:spcPts val="3398"/>
        </a:lnSpc>
        <a:spcBef>
          <a:spcPct val="0"/>
        </a:spcBef>
        <a:spcAft>
          <a:spcPct val="0"/>
        </a:spcAft>
        <a:defRPr sz="2400" b="1">
          <a:solidFill>
            <a:schemeClr val="tx2"/>
          </a:solidFill>
          <a:latin typeface="Arial" charset="0"/>
        </a:defRPr>
      </a:lvl3pPr>
      <a:lvl4pPr algn="l" defTabSz="1016131" rtl="0" eaLnBrk="0" fontAlgn="base" hangingPunct="0">
        <a:lnSpc>
          <a:spcPts val="3398"/>
        </a:lnSpc>
        <a:spcBef>
          <a:spcPct val="0"/>
        </a:spcBef>
        <a:spcAft>
          <a:spcPct val="0"/>
        </a:spcAft>
        <a:defRPr sz="2400" b="1">
          <a:solidFill>
            <a:schemeClr val="tx2"/>
          </a:solidFill>
          <a:latin typeface="Arial" charset="0"/>
        </a:defRPr>
      </a:lvl4pPr>
      <a:lvl5pPr algn="l" defTabSz="1016131" rtl="0" eaLnBrk="0" fontAlgn="base" hangingPunct="0">
        <a:lnSpc>
          <a:spcPts val="3398"/>
        </a:lnSpc>
        <a:spcBef>
          <a:spcPct val="0"/>
        </a:spcBef>
        <a:spcAft>
          <a:spcPct val="0"/>
        </a:spcAft>
        <a:defRPr sz="2400" b="1">
          <a:solidFill>
            <a:schemeClr val="tx2"/>
          </a:solidFill>
          <a:latin typeface="Arial" charset="0"/>
        </a:defRPr>
      </a:lvl5pPr>
      <a:lvl6pPr marL="456471" algn="l" defTabSz="1017553" rtl="0" eaLnBrk="0" fontAlgn="base" hangingPunct="0">
        <a:lnSpc>
          <a:spcPts val="3398"/>
        </a:lnSpc>
        <a:spcBef>
          <a:spcPct val="0"/>
        </a:spcBef>
        <a:spcAft>
          <a:spcPct val="0"/>
        </a:spcAft>
        <a:defRPr sz="2400" b="1">
          <a:solidFill>
            <a:schemeClr val="tx2"/>
          </a:solidFill>
          <a:latin typeface="Arial" charset="0"/>
        </a:defRPr>
      </a:lvl6pPr>
      <a:lvl7pPr marL="912946" algn="l" defTabSz="1017553" rtl="0" eaLnBrk="0" fontAlgn="base" hangingPunct="0">
        <a:lnSpc>
          <a:spcPts val="3398"/>
        </a:lnSpc>
        <a:spcBef>
          <a:spcPct val="0"/>
        </a:spcBef>
        <a:spcAft>
          <a:spcPct val="0"/>
        </a:spcAft>
        <a:defRPr sz="2400" b="1">
          <a:solidFill>
            <a:schemeClr val="tx2"/>
          </a:solidFill>
          <a:latin typeface="Arial" charset="0"/>
        </a:defRPr>
      </a:lvl7pPr>
      <a:lvl8pPr marL="1369413" algn="l" defTabSz="1017553" rtl="0" eaLnBrk="0" fontAlgn="base" hangingPunct="0">
        <a:lnSpc>
          <a:spcPts val="3398"/>
        </a:lnSpc>
        <a:spcBef>
          <a:spcPct val="0"/>
        </a:spcBef>
        <a:spcAft>
          <a:spcPct val="0"/>
        </a:spcAft>
        <a:defRPr sz="2400" b="1">
          <a:solidFill>
            <a:schemeClr val="tx2"/>
          </a:solidFill>
          <a:latin typeface="Arial" charset="0"/>
        </a:defRPr>
      </a:lvl8pPr>
      <a:lvl9pPr marL="1825888" algn="l" defTabSz="1017553" rtl="0" eaLnBrk="0" fontAlgn="base" hangingPunct="0">
        <a:lnSpc>
          <a:spcPts val="3398"/>
        </a:lnSpc>
        <a:spcBef>
          <a:spcPct val="0"/>
        </a:spcBef>
        <a:spcAft>
          <a:spcPct val="0"/>
        </a:spcAft>
        <a:defRPr sz="2400" b="1">
          <a:solidFill>
            <a:schemeClr val="tx2"/>
          </a:solidFill>
          <a:latin typeface="Arial" charset="0"/>
        </a:defRPr>
      </a:lvl9pPr>
    </p:titleStyle>
    <p:bodyStyle>
      <a:lvl1pPr marL="380453" indent="-380453" algn="l" defTabSz="1016131" rtl="0" eaLnBrk="0" fontAlgn="base" hangingPunct="0">
        <a:spcBef>
          <a:spcPct val="0"/>
        </a:spcBef>
        <a:spcAft>
          <a:spcPts val="300"/>
        </a:spcAft>
        <a:buFont typeface="Arial" charset="0"/>
        <a:defRPr sz="2100">
          <a:solidFill>
            <a:schemeClr val="tx2"/>
          </a:solidFill>
          <a:latin typeface="+mn-lt"/>
          <a:ea typeface="+mn-ea"/>
          <a:cs typeface="+mn-cs"/>
        </a:defRPr>
      </a:lvl1pPr>
      <a:lvl2pPr marL="201325" indent="-201325" algn="l" defTabSz="1016131" rtl="0" eaLnBrk="0" fontAlgn="base" hangingPunct="0">
        <a:spcBef>
          <a:spcPct val="0"/>
        </a:spcBef>
        <a:spcAft>
          <a:spcPts val="300"/>
        </a:spcAft>
        <a:buFont typeface="Arial" charset="0"/>
        <a:buChar char="•"/>
        <a:defRPr sz="2100">
          <a:solidFill>
            <a:schemeClr val="tx2"/>
          </a:solidFill>
          <a:latin typeface="+mn-lt"/>
        </a:defRPr>
      </a:lvl2pPr>
      <a:lvl3pPr marL="396303" indent="-193396" algn="l" defTabSz="1016131" rtl="0" eaLnBrk="0" fontAlgn="base" hangingPunct="0">
        <a:spcBef>
          <a:spcPct val="0"/>
        </a:spcBef>
        <a:spcAft>
          <a:spcPts val="300"/>
        </a:spcAft>
        <a:buFont typeface="Arial" charset="0"/>
        <a:buChar char="‒"/>
        <a:defRPr sz="2100">
          <a:solidFill>
            <a:schemeClr val="tx2"/>
          </a:solidFill>
          <a:latin typeface="+mn-lt"/>
        </a:defRPr>
      </a:lvl3pPr>
      <a:lvl4pPr marL="599213" indent="-201325" algn="l" defTabSz="1016131" rtl="0" eaLnBrk="0" fontAlgn="base" hangingPunct="0">
        <a:spcBef>
          <a:spcPct val="0"/>
        </a:spcBef>
        <a:spcAft>
          <a:spcPts val="600"/>
        </a:spcAft>
        <a:buFont typeface="Arial" charset="0"/>
        <a:buChar char="•"/>
        <a:defRPr>
          <a:solidFill>
            <a:schemeClr val="tx2"/>
          </a:solidFill>
          <a:latin typeface="+mn-lt"/>
        </a:defRPr>
      </a:lvl4pPr>
      <a:lvl5pPr marL="791028" indent="-190230" algn="l" defTabSz="1016131" rtl="0" eaLnBrk="0" fontAlgn="base" hangingPunct="0">
        <a:spcBef>
          <a:spcPct val="0"/>
        </a:spcBef>
        <a:spcAft>
          <a:spcPts val="600"/>
        </a:spcAft>
        <a:buFont typeface="Arial" charset="0"/>
        <a:buChar char="‒"/>
        <a:defRPr>
          <a:solidFill>
            <a:schemeClr val="tx2"/>
          </a:solidFill>
          <a:latin typeface="+mn-lt"/>
        </a:defRPr>
      </a:lvl5pPr>
      <a:lvl6pPr marL="1248960" indent="-191781" algn="l" defTabSz="1017553" rtl="0" eaLnBrk="0" fontAlgn="base" hangingPunct="0">
        <a:spcBef>
          <a:spcPct val="0"/>
        </a:spcBef>
        <a:spcAft>
          <a:spcPts val="600"/>
        </a:spcAft>
        <a:buFont typeface="Arial" charset="0"/>
        <a:buChar char="‒"/>
        <a:defRPr>
          <a:solidFill>
            <a:schemeClr val="tx2"/>
          </a:solidFill>
          <a:latin typeface="+mn-lt"/>
        </a:defRPr>
      </a:lvl6pPr>
      <a:lvl7pPr marL="1705439" indent="-191781" algn="l" defTabSz="1017553" rtl="0" eaLnBrk="0" fontAlgn="base" hangingPunct="0">
        <a:spcBef>
          <a:spcPct val="0"/>
        </a:spcBef>
        <a:spcAft>
          <a:spcPts val="600"/>
        </a:spcAft>
        <a:buFont typeface="Arial" charset="0"/>
        <a:buChar char="‒"/>
        <a:defRPr>
          <a:solidFill>
            <a:schemeClr val="tx2"/>
          </a:solidFill>
          <a:latin typeface="+mn-lt"/>
        </a:defRPr>
      </a:lvl7pPr>
      <a:lvl8pPr marL="2161905" indent="-191781" algn="l" defTabSz="1017553" rtl="0" eaLnBrk="0" fontAlgn="base" hangingPunct="0">
        <a:spcBef>
          <a:spcPct val="0"/>
        </a:spcBef>
        <a:spcAft>
          <a:spcPts val="600"/>
        </a:spcAft>
        <a:buFont typeface="Arial" charset="0"/>
        <a:buChar char="‒"/>
        <a:defRPr>
          <a:solidFill>
            <a:schemeClr val="tx2"/>
          </a:solidFill>
          <a:latin typeface="+mn-lt"/>
        </a:defRPr>
      </a:lvl8pPr>
      <a:lvl9pPr marL="2618376" indent="-191781" algn="l" defTabSz="1017553" rtl="0" eaLnBrk="0" fontAlgn="base" hangingPunct="0">
        <a:spcBef>
          <a:spcPct val="0"/>
        </a:spcBef>
        <a:spcAft>
          <a:spcPts val="600"/>
        </a:spcAft>
        <a:buFont typeface="Arial" charset="0"/>
        <a:buChar char="‒"/>
        <a:defRPr>
          <a:solidFill>
            <a:schemeClr val="tx2"/>
          </a:solidFill>
          <a:latin typeface="+mn-lt"/>
        </a:defRPr>
      </a:lvl9pPr>
    </p:bodyStyle>
    <p:otherStyle>
      <a:defPPr>
        <a:defRPr lang="nl-NL"/>
      </a:defPPr>
      <a:lvl1pPr marL="0" algn="l" defTabSz="912946" rtl="0" eaLnBrk="1" latinLnBrk="0" hangingPunct="1">
        <a:defRPr sz="1800" kern="1200">
          <a:solidFill>
            <a:schemeClr val="tx1"/>
          </a:solidFill>
          <a:latin typeface="+mn-lt"/>
          <a:ea typeface="+mn-ea"/>
          <a:cs typeface="+mn-cs"/>
        </a:defRPr>
      </a:lvl1pPr>
      <a:lvl2pPr marL="456471" algn="l" defTabSz="912946" rtl="0" eaLnBrk="1" latinLnBrk="0" hangingPunct="1">
        <a:defRPr sz="1800" kern="1200">
          <a:solidFill>
            <a:schemeClr val="tx1"/>
          </a:solidFill>
          <a:latin typeface="+mn-lt"/>
          <a:ea typeface="+mn-ea"/>
          <a:cs typeface="+mn-cs"/>
        </a:defRPr>
      </a:lvl2pPr>
      <a:lvl3pPr marL="912946" algn="l" defTabSz="912946" rtl="0" eaLnBrk="1" latinLnBrk="0" hangingPunct="1">
        <a:defRPr sz="1800" kern="1200">
          <a:solidFill>
            <a:schemeClr val="tx1"/>
          </a:solidFill>
          <a:latin typeface="+mn-lt"/>
          <a:ea typeface="+mn-ea"/>
          <a:cs typeface="+mn-cs"/>
        </a:defRPr>
      </a:lvl3pPr>
      <a:lvl4pPr marL="1369413" algn="l" defTabSz="912946" rtl="0" eaLnBrk="1" latinLnBrk="0" hangingPunct="1">
        <a:defRPr sz="1800" kern="1200">
          <a:solidFill>
            <a:schemeClr val="tx1"/>
          </a:solidFill>
          <a:latin typeface="+mn-lt"/>
          <a:ea typeface="+mn-ea"/>
          <a:cs typeface="+mn-cs"/>
        </a:defRPr>
      </a:lvl4pPr>
      <a:lvl5pPr marL="1825888" algn="l" defTabSz="912946" rtl="0" eaLnBrk="1" latinLnBrk="0" hangingPunct="1">
        <a:defRPr sz="1800" kern="1200">
          <a:solidFill>
            <a:schemeClr val="tx1"/>
          </a:solidFill>
          <a:latin typeface="+mn-lt"/>
          <a:ea typeface="+mn-ea"/>
          <a:cs typeface="+mn-cs"/>
        </a:defRPr>
      </a:lvl5pPr>
      <a:lvl6pPr marL="2282364" algn="l" defTabSz="912946" rtl="0" eaLnBrk="1" latinLnBrk="0" hangingPunct="1">
        <a:defRPr sz="1800" kern="1200">
          <a:solidFill>
            <a:schemeClr val="tx1"/>
          </a:solidFill>
          <a:latin typeface="+mn-lt"/>
          <a:ea typeface="+mn-ea"/>
          <a:cs typeface="+mn-cs"/>
        </a:defRPr>
      </a:lvl6pPr>
      <a:lvl7pPr marL="2738835" algn="l" defTabSz="912946" rtl="0" eaLnBrk="1" latinLnBrk="0" hangingPunct="1">
        <a:defRPr sz="1800" kern="1200">
          <a:solidFill>
            <a:schemeClr val="tx1"/>
          </a:solidFill>
          <a:latin typeface="+mn-lt"/>
          <a:ea typeface="+mn-ea"/>
          <a:cs typeface="+mn-cs"/>
        </a:defRPr>
      </a:lvl7pPr>
      <a:lvl8pPr marL="3195306" algn="l" defTabSz="912946" rtl="0" eaLnBrk="1" latinLnBrk="0" hangingPunct="1">
        <a:defRPr sz="1800" kern="1200">
          <a:solidFill>
            <a:schemeClr val="tx1"/>
          </a:solidFill>
          <a:latin typeface="+mn-lt"/>
          <a:ea typeface="+mn-ea"/>
          <a:cs typeface="+mn-cs"/>
        </a:defRPr>
      </a:lvl8pPr>
      <a:lvl9pPr marL="3651787" algn="l" defTabSz="91294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Slide Number Placeholder 9"/>
          <p:cNvSpPr>
            <a:spLocks/>
          </p:cNvSpPr>
          <p:nvPr/>
        </p:nvSpPr>
        <p:spPr bwMode="gray">
          <a:xfrm>
            <a:off x="580075" y="7498222"/>
            <a:ext cx="375602" cy="184666"/>
          </a:xfrm>
          <a:prstGeom prst="rect">
            <a:avLst/>
          </a:prstGeom>
          <a:noFill/>
          <a:ln w="9525">
            <a:noFill/>
            <a:miter lim="800000"/>
            <a:headEnd/>
            <a:tailEnd/>
          </a:ln>
        </p:spPr>
        <p:txBody>
          <a:bodyPr lIns="0" tIns="0" rIns="0" bIns="0" anchor="b">
            <a:spAutoFit/>
          </a:bodyPr>
          <a:lstStyle/>
          <a:p>
            <a:pPr algn="l">
              <a:spcBef>
                <a:spcPct val="0"/>
              </a:spcBef>
            </a:pPr>
            <a:fld id="{86C77FDF-45C5-4665-AAEE-45520AE6BEA9}" type="slidenum">
              <a:rPr lang="en-US">
                <a:solidFill>
                  <a:srgbClr val="002776"/>
                </a:solidFill>
                <a:latin typeface="Calibri" pitchFamily="34" charset="0"/>
                <a:cs typeface="Calibri" pitchFamily="34" charset="0"/>
              </a:rPr>
              <a:pPr algn="l">
                <a:spcBef>
                  <a:spcPct val="0"/>
                </a:spcBef>
              </a:pPr>
              <a:t>‹#›</a:t>
            </a:fld>
            <a:endParaRPr lang="en-US" dirty="0">
              <a:solidFill>
                <a:srgbClr val="002776"/>
              </a:solidFill>
              <a:latin typeface="Calibri" pitchFamily="34" charset="0"/>
              <a:cs typeface="Calibri" pitchFamily="34" charset="0"/>
            </a:endParaRPr>
          </a:p>
        </p:txBody>
      </p:sp>
      <p:sp>
        <p:nvSpPr>
          <p:cNvPr id="11"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4861"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16" name="Text Placeholder 15"/>
          <p:cNvSpPr>
            <a:spLocks noGrp="1"/>
          </p:cNvSpPr>
          <p:nvPr>
            <p:ph type="body" idx="1"/>
          </p:nvPr>
        </p:nvSpPr>
        <p:spPr bwMode="gray">
          <a:xfrm>
            <a:off x="576072" y="1586865"/>
            <a:ext cx="11662258" cy="1933863"/>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26283904"/>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5" r:id="rId4"/>
    <p:sldLayoutId id="2147484146" r:id="rId5"/>
    <p:sldLayoutId id="2147484147" r:id="rId6"/>
    <p:sldLayoutId id="2147484148" r:id="rId7"/>
    <p:sldLayoutId id="2147484149" r:id="rId8"/>
    <p:sldLayoutId id="2147484150" r:id="rId9"/>
    <p:sldLayoutId id="2147484151" r:id="rId10"/>
    <p:sldLayoutId id="2147484152" r:id="rId11"/>
    <p:sldLayoutId id="2147484153" r:id="rId12"/>
    <p:sldLayoutId id="2147484154" r:id="rId13"/>
    <p:sldLayoutId id="2147484155" r:id="rId14"/>
    <p:sldLayoutId id="2147484156" r:id="rId15"/>
    <p:sldLayoutId id="2147484157" r:id="rId16"/>
    <p:sldLayoutId id="2147484158" r:id="rId17"/>
    <p:sldLayoutId id="2147484159" r:id="rId18"/>
    <p:sldLayoutId id="2147484160" r:id="rId19"/>
    <p:sldLayoutId id="2147484161" r:id="rId20"/>
    <p:sldLayoutId id="2147484162" r:id="rId21"/>
    <p:sldLayoutId id="2147484166" r:id="rId22"/>
    <p:sldLayoutId id="2147484167" r:id="rId23"/>
    <p:sldLayoutId id="2147484168" r:id="rId24"/>
    <p:sldLayoutId id="2147484169" r:id="rId25"/>
    <p:sldLayoutId id="2147484170" r:id="rId26"/>
    <p:sldLayoutId id="2147484171" r:id="rId27"/>
    <p:sldLayoutId id="2147484172" r:id="rId28"/>
    <p:sldLayoutId id="2147484173" r:id="rId29"/>
    <p:sldLayoutId id="2147484174" r:id="rId30"/>
    <p:sldLayoutId id="2147484175" r:id="rId31"/>
    <p:sldLayoutId id="2147484176" r:id="rId32"/>
    <p:sldLayoutId id="2147484177" r:id="rId33"/>
    <p:sldLayoutId id="2147484178" r:id="rId34"/>
    <p:sldLayoutId id="2147484179" r:id="rId35"/>
    <p:sldLayoutId id="2147484180" r:id="rId36"/>
    <p:sldLayoutId id="2147484181" r:id="rId37"/>
    <p:sldLayoutId id="2147484182" r:id="rId38"/>
    <p:sldLayoutId id="2147484183" r:id="rId39"/>
    <p:sldLayoutId id="2147484184" r:id="rId40"/>
    <p:sldLayoutId id="2147484185" r:id="rId41"/>
    <p:sldLayoutId id="2147484186" r:id="rId42"/>
    <p:sldLayoutId id="2147484187" r:id="rId43"/>
    <p:sldLayoutId id="2147484188" r:id="rId44"/>
  </p:sldLayoutIdLst>
  <p:timing>
    <p:tnLst>
      <p:par>
        <p:cTn id="1" dur="indefinite" restart="never" nodeType="tmRoot"/>
      </p:par>
    </p:tnLst>
  </p:timing>
  <p:hf hdr="0" dt="0"/>
  <p:txStyles>
    <p:titleStyle>
      <a:lvl1pPr algn="l" rtl="0" eaLnBrk="1" fontAlgn="base" hangingPunct="1">
        <a:lnSpc>
          <a:spcPts val="3343"/>
        </a:lnSpc>
        <a:spcBef>
          <a:spcPct val="0"/>
        </a:spcBef>
        <a:spcAft>
          <a:spcPct val="0"/>
        </a:spcAft>
        <a:defRPr kumimoji="0" lang="en-US" sz="3100" b="1" i="0" u="none" strike="noStrike" kern="1200" cap="none" spc="0" normalizeH="0" baseline="0" noProof="0" dirty="0" smtClean="0">
          <a:ln>
            <a:noFill/>
          </a:ln>
          <a:solidFill>
            <a:schemeClr val="tx2"/>
          </a:solidFill>
          <a:effectLst/>
          <a:uLnTx/>
          <a:uFillTx/>
          <a:latin typeface="Calibri" pitchFamily="34" charset="0"/>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587429" algn="l" rtl="0" eaLnBrk="1" fontAlgn="base" hangingPunct="1">
        <a:spcBef>
          <a:spcPct val="0"/>
        </a:spcBef>
        <a:spcAft>
          <a:spcPct val="0"/>
        </a:spcAft>
        <a:defRPr sz="3100" b="1">
          <a:solidFill>
            <a:schemeClr val="accent1"/>
          </a:solidFill>
          <a:latin typeface="Arial" charset="0"/>
        </a:defRPr>
      </a:lvl6pPr>
      <a:lvl7pPr marL="1174861" algn="l" rtl="0" eaLnBrk="1" fontAlgn="base" hangingPunct="1">
        <a:spcBef>
          <a:spcPct val="0"/>
        </a:spcBef>
        <a:spcAft>
          <a:spcPct val="0"/>
        </a:spcAft>
        <a:defRPr sz="3100" b="1">
          <a:solidFill>
            <a:schemeClr val="accent1"/>
          </a:solidFill>
          <a:latin typeface="Arial" charset="0"/>
        </a:defRPr>
      </a:lvl7pPr>
      <a:lvl8pPr marL="1762292" algn="l" rtl="0" eaLnBrk="1" fontAlgn="base" hangingPunct="1">
        <a:spcBef>
          <a:spcPct val="0"/>
        </a:spcBef>
        <a:spcAft>
          <a:spcPct val="0"/>
        </a:spcAft>
        <a:defRPr sz="3100" b="1">
          <a:solidFill>
            <a:schemeClr val="accent1"/>
          </a:solidFill>
          <a:latin typeface="Arial" charset="0"/>
        </a:defRPr>
      </a:lvl8pPr>
      <a:lvl9pPr marL="2349722" algn="l" rtl="0" eaLnBrk="1" fontAlgn="base" hangingPunct="1">
        <a:spcBef>
          <a:spcPct val="0"/>
        </a:spcBef>
        <a:spcAft>
          <a:spcPct val="0"/>
        </a:spcAft>
        <a:defRPr sz="3100" b="1">
          <a:solidFill>
            <a:schemeClr val="accent1"/>
          </a:solidFill>
          <a:latin typeface="Arial" charset="0"/>
        </a:defRPr>
      </a:lvl9pPr>
    </p:titleStyle>
    <p:bodyStyle>
      <a:lvl1pPr marR="0" indent="0" algn="l" defTabSz="1174861" rtl="0" eaLnBrk="1" fontAlgn="base" latinLnBrk="0" hangingPunct="1">
        <a:lnSpc>
          <a:spcPct val="100000"/>
        </a:lnSpc>
        <a:spcBef>
          <a:spcPts val="2829"/>
        </a:spcBef>
        <a:spcAft>
          <a:spcPct val="0"/>
        </a:spcAft>
        <a:buFont typeface="Arial" pitchFamily="34" charset="0"/>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1pPr>
      <a:lvl2pPr marL="224366" marR="0" indent="-224366" algn="l" defTabSz="1174861" rtl="0" eaLnBrk="1" fontAlgn="base" latinLnBrk="0" hangingPunct="1">
        <a:lnSpc>
          <a:spcPct val="100000"/>
        </a:lnSpc>
        <a:spcBef>
          <a:spcPts val="514"/>
        </a:spcBef>
        <a:spcAft>
          <a:spcPct val="0"/>
        </a:spcAft>
        <a:buFont typeface="Arial" pitchFamily="34" charset="0"/>
        <a:buChar char="•"/>
        <a:tabLst/>
        <a:defRPr kumimoji="0" lang="en-US" sz="2300" b="0" i="0" u="none" strike="noStrike" kern="1200" cap="none" normalizeH="0" baseline="0" dirty="0" smtClean="0">
          <a:ln>
            <a:noFill/>
          </a:ln>
          <a:solidFill>
            <a:schemeClr val="tx2"/>
          </a:solidFill>
          <a:effectLst/>
          <a:latin typeface="Calibri" pitchFamily="34" charset="0"/>
          <a:ea typeface="+mn-ea"/>
          <a:cs typeface="Calibri" pitchFamily="34" charset="0"/>
        </a:defRPr>
      </a:lvl2pPr>
      <a:lvl3pPr marL="438533" indent="-220287" algn="l" rtl="0" eaLnBrk="1" fontAlgn="base" hangingPunct="1">
        <a:lnSpc>
          <a:spcPct val="100000"/>
        </a:lnSpc>
        <a:spcBef>
          <a:spcPts val="514"/>
        </a:spcBef>
        <a:spcAft>
          <a:spcPct val="0"/>
        </a:spcAft>
        <a:buFont typeface="Arial" pitchFamily="34" charset="0"/>
        <a:buChar char="–"/>
        <a:defRPr lang="en-US" sz="2100" kern="1200" dirty="0" smtClean="0">
          <a:solidFill>
            <a:schemeClr val="tx2"/>
          </a:solidFill>
          <a:latin typeface="Calibri" pitchFamily="34" charset="0"/>
          <a:ea typeface="+mn-ea"/>
          <a:cs typeface="+mn-cs"/>
        </a:defRPr>
      </a:lvl3pPr>
      <a:lvl4pPr marL="662898" marR="0" indent="-224366" algn="l" defTabSz="1174861" rtl="0" eaLnBrk="1" fontAlgn="base" latinLnBrk="0" hangingPunct="1">
        <a:lnSpc>
          <a:spcPct val="100000"/>
        </a:lnSpc>
        <a:spcBef>
          <a:spcPts val="514"/>
        </a:spcBef>
        <a:spcAft>
          <a:spcPct val="0"/>
        </a:spcAft>
        <a:buFont typeface="Arial" pitchFamily="34" charset="0"/>
        <a:buChar char="•"/>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4pPr>
      <a:lvl5pPr marL="885221" marR="0" indent="-222328" algn="l" defTabSz="1174861" rtl="0" eaLnBrk="1" fontAlgn="base" latinLnBrk="0" hangingPunct="1">
        <a:lnSpc>
          <a:spcPct val="100000"/>
        </a:lnSpc>
        <a:spcBef>
          <a:spcPts val="514"/>
        </a:spcBef>
        <a:spcAft>
          <a:spcPct val="0"/>
        </a:spcAft>
        <a:buFont typeface="Arial" pitchFamily="34" charset="0"/>
        <a:buChar char="–"/>
        <a:tabLst/>
        <a:defRPr kumimoji="0" lang="en-US" sz="2100" b="0" i="0" u="none" strike="noStrike" kern="1200" cap="none" normalizeH="0" baseline="0" dirty="0" smtClean="0">
          <a:ln>
            <a:noFill/>
          </a:ln>
          <a:solidFill>
            <a:schemeClr val="tx2"/>
          </a:solidFill>
          <a:effectLst/>
          <a:latin typeface="Calibri" pitchFamily="34" charset="0"/>
          <a:ea typeface="+mn-ea"/>
          <a:cs typeface="Calibri" pitchFamily="34" charset="0"/>
        </a:defRPr>
      </a:lvl5pPr>
      <a:lvl6pPr marL="856670" marR="0" indent="-214168" algn="l" defTabSz="1174861" rtl="0" eaLnBrk="1" fontAlgn="base" latinLnBrk="0" hangingPunct="1">
        <a:lnSpc>
          <a:spcPct val="100000"/>
        </a:lnSpc>
        <a:spcBef>
          <a:spcPts val="514"/>
        </a:spcBef>
        <a:spcAft>
          <a:spcPct val="0"/>
        </a:spcAft>
        <a:buFont typeface="Arial" pitchFamily="34" charset="0"/>
        <a:buChar char="–"/>
        <a:tabLst/>
        <a:defRPr kumimoji="0" lang="en-US" sz="13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386987" indent="-236602" algn="l" defTabSz="1174861" rtl="0" eaLnBrk="1" latinLnBrk="0" hangingPunct="1">
        <a:spcBef>
          <a:spcPts val="0"/>
        </a:spcBef>
        <a:spcAft>
          <a:spcPts val="386"/>
        </a:spcAft>
        <a:buFont typeface="Arial" pitchFamily="34" charset="0"/>
        <a:buChar char="‒"/>
        <a:defRPr sz="1800" kern="1200">
          <a:solidFill>
            <a:schemeClr val="accent1"/>
          </a:solidFill>
          <a:latin typeface="+mn-lt"/>
          <a:ea typeface="+mn-ea"/>
          <a:cs typeface="+mn-cs"/>
        </a:defRPr>
      </a:lvl7pPr>
      <a:lvl8pPr marL="1609316" indent="-222328" algn="l" defTabSz="1174861" rtl="0" eaLnBrk="1" latinLnBrk="0" hangingPunct="1">
        <a:spcBef>
          <a:spcPts val="0"/>
        </a:spcBef>
        <a:spcAft>
          <a:spcPts val="386"/>
        </a:spcAft>
        <a:buFont typeface="Arial" pitchFamily="34" charset="0"/>
        <a:buChar char="•"/>
        <a:defRPr sz="1800" kern="1200">
          <a:solidFill>
            <a:schemeClr val="accent1"/>
          </a:solidFill>
          <a:latin typeface="+mn-lt"/>
          <a:ea typeface="+mn-ea"/>
          <a:cs typeface="+mn-cs"/>
        </a:defRPr>
      </a:lvl8pPr>
      <a:lvl9pPr marL="1843878" indent="-234564" algn="l" defTabSz="1174861" rtl="0" eaLnBrk="1" latinLnBrk="0" hangingPunct="1">
        <a:spcBef>
          <a:spcPts val="0"/>
        </a:spcBef>
        <a:spcAft>
          <a:spcPts val="386"/>
        </a:spcAft>
        <a:buFont typeface="Arial" pitchFamily="34" charset="0"/>
        <a:buChar char="‒"/>
        <a:defRPr sz="1800" kern="1200">
          <a:solidFill>
            <a:schemeClr val="accent1"/>
          </a:solidFill>
          <a:latin typeface="+mn-lt"/>
          <a:ea typeface="+mn-ea"/>
          <a:cs typeface="+mn-cs"/>
        </a:defRPr>
      </a:lvl9pPr>
    </p:bodyStyle>
    <p:otherStyle>
      <a:defPPr>
        <a:defRPr lang="en-US"/>
      </a:defPPr>
      <a:lvl1pPr marL="0" algn="l" defTabSz="1174861" rtl="0" eaLnBrk="1" latinLnBrk="0" hangingPunct="1">
        <a:defRPr sz="2300" kern="1200">
          <a:solidFill>
            <a:schemeClr val="tx1"/>
          </a:solidFill>
          <a:latin typeface="+mn-lt"/>
          <a:ea typeface="+mn-ea"/>
          <a:cs typeface="+mn-cs"/>
        </a:defRPr>
      </a:lvl1pPr>
      <a:lvl2pPr marL="587429" algn="l" defTabSz="1174861" rtl="0" eaLnBrk="1" latinLnBrk="0" hangingPunct="1">
        <a:defRPr sz="2300" kern="1200">
          <a:solidFill>
            <a:schemeClr val="tx1"/>
          </a:solidFill>
          <a:latin typeface="+mn-lt"/>
          <a:ea typeface="+mn-ea"/>
          <a:cs typeface="+mn-cs"/>
        </a:defRPr>
      </a:lvl2pPr>
      <a:lvl3pPr marL="1174861" algn="l" defTabSz="1174861" rtl="0" eaLnBrk="1" latinLnBrk="0" hangingPunct="1">
        <a:defRPr sz="2300" kern="1200">
          <a:solidFill>
            <a:schemeClr val="tx1"/>
          </a:solidFill>
          <a:latin typeface="+mn-lt"/>
          <a:ea typeface="+mn-ea"/>
          <a:cs typeface="+mn-cs"/>
        </a:defRPr>
      </a:lvl3pPr>
      <a:lvl4pPr marL="1762292" algn="l" defTabSz="1174861" rtl="0" eaLnBrk="1" latinLnBrk="0" hangingPunct="1">
        <a:defRPr sz="2300" kern="1200">
          <a:solidFill>
            <a:schemeClr val="tx1"/>
          </a:solidFill>
          <a:latin typeface="+mn-lt"/>
          <a:ea typeface="+mn-ea"/>
          <a:cs typeface="+mn-cs"/>
        </a:defRPr>
      </a:lvl4pPr>
      <a:lvl5pPr marL="2349722" algn="l" defTabSz="1174861" rtl="0" eaLnBrk="1" latinLnBrk="0" hangingPunct="1">
        <a:defRPr sz="2300" kern="1200">
          <a:solidFill>
            <a:schemeClr val="tx1"/>
          </a:solidFill>
          <a:latin typeface="+mn-lt"/>
          <a:ea typeface="+mn-ea"/>
          <a:cs typeface="+mn-cs"/>
        </a:defRPr>
      </a:lvl5pPr>
      <a:lvl6pPr marL="2937151" algn="l" defTabSz="1174861" rtl="0" eaLnBrk="1" latinLnBrk="0" hangingPunct="1">
        <a:defRPr sz="2300" kern="1200">
          <a:solidFill>
            <a:schemeClr val="tx1"/>
          </a:solidFill>
          <a:latin typeface="+mn-lt"/>
          <a:ea typeface="+mn-ea"/>
          <a:cs typeface="+mn-cs"/>
        </a:defRPr>
      </a:lvl6pPr>
      <a:lvl7pPr marL="3524582" algn="l" defTabSz="1174861" rtl="0" eaLnBrk="1" latinLnBrk="0" hangingPunct="1">
        <a:defRPr sz="2300" kern="1200">
          <a:solidFill>
            <a:schemeClr val="tx1"/>
          </a:solidFill>
          <a:latin typeface="+mn-lt"/>
          <a:ea typeface="+mn-ea"/>
          <a:cs typeface="+mn-cs"/>
        </a:defRPr>
      </a:lvl7pPr>
      <a:lvl8pPr marL="4112011" algn="l" defTabSz="1174861" rtl="0" eaLnBrk="1" latinLnBrk="0" hangingPunct="1">
        <a:defRPr sz="2300" kern="1200">
          <a:solidFill>
            <a:schemeClr val="tx1"/>
          </a:solidFill>
          <a:latin typeface="+mn-lt"/>
          <a:ea typeface="+mn-ea"/>
          <a:cs typeface="+mn-cs"/>
        </a:defRPr>
      </a:lvl8pPr>
      <a:lvl9pPr marL="4699443" algn="l" defTabSz="1174861" rtl="0" eaLnBrk="1" latinLnBrk="0" hangingPunct="1">
        <a:defRPr sz="23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571733" y="396823"/>
            <a:ext cx="11791531" cy="71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GB" smtClean="0"/>
          </a:p>
        </p:txBody>
      </p:sp>
      <p:sp>
        <p:nvSpPr>
          <p:cNvPr id="1028" name="Text Placeholder 2"/>
          <p:cNvSpPr>
            <a:spLocks noGrp="1"/>
          </p:cNvSpPr>
          <p:nvPr>
            <p:ph type="body" idx="1"/>
          </p:nvPr>
        </p:nvSpPr>
        <p:spPr bwMode="auto">
          <a:xfrm>
            <a:off x="567672" y="1349103"/>
            <a:ext cx="11791531" cy="5915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7" name="Slide Number Placeholder 9"/>
          <p:cNvSpPr>
            <a:spLocks noGrp="1"/>
          </p:cNvSpPr>
          <p:nvPr>
            <p:ph type="sldNum" sz="quarter" idx="4"/>
          </p:nvPr>
        </p:nvSpPr>
        <p:spPr>
          <a:xfrm>
            <a:off x="581831" y="7428037"/>
            <a:ext cx="395947" cy="163480"/>
          </a:xfrm>
          <a:prstGeom prst="rect">
            <a:avLst/>
          </a:prstGeom>
        </p:spPr>
        <p:txBody>
          <a:bodyPr vert="horz" wrap="square" lIns="0" tIns="0" rIns="0" bIns="0" numCol="1" anchor="t" anchorCtr="0" compatLnSpc="1">
            <a:prstTxWarp prst="textNoShape">
              <a:avLst/>
            </a:prstTxWarp>
            <a:noAutofit/>
          </a:bodyPr>
          <a:lstStyle>
            <a:lvl1pPr>
              <a:defRPr sz="1200" b="1">
                <a:solidFill>
                  <a:schemeClr val="tx2"/>
                </a:solidFill>
              </a:defRPr>
            </a:lvl1pPr>
          </a:lstStyle>
          <a:p>
            <a:pPr algn="l" defTabSz="1168794" fontAlgn="auto">
              <a:spcBef>
                <a:spcPts val="0"/>
              </a:spcBef>
              <a:spcAft>
                <a:spcPts val="0"/>
              </a:spcAft>
            </a:pPr>
            <a:fld id="{E0CE75A5-5D6D-40C3-9373-C97AC06615CB}" type="slidenum">
              <a:rPr lang="en-GB" smtClean="0">
                <a:solidFill>
                  <a:srgbClr val="002776"/>
                </a:solidFill>
                <a:latin typeface="Arial"/>
              </a:rPr>
              <a:pPr algn="l" defTabSz="1168794" fontAlgn="auto">
                <a:spcBef>
                  <a:spcPts val="0"/>
                </a:spcBef>
                <a:spcAft>
                  <a:spcPts val="0"/>
                </a:spcAft>
              </a:pPr>
              <a:t>‹#›</a:t>
            </a:fld>
            <a:endParaRPr lang="en-GB" dirty="0">
              <a:solidFill>
                <a:srgbClr val="002776"/>
              </a:solidFill>
              <a:latin typeface="Arial"/>
            </a:endParaRPr>
          </a:p>
        </p:txBody>
      </p:sp>
      <p:sp>
        <p:nvSpPr>
          <p:cNvPr id="8" name="Line 40"/>
          <p:cNvSpPr>
            <a:spLocks noChangeShapeType="1"/>
          </p:cNvSpPr>
          <p:nvPr userDrawn="1"/>
        </p:nvSpPr>
        <p:spPr bwMode="auto">
          <a:xfrm>
            <a:off x="493419" y="863600"/>
            <a:ext cx="11745913" cy="0"/>
          </a:xfrm>
          <a:prstGeom prst="line">
            <a:avLst/>
          </a:prstGeom>
          <a:noFill/>
          <a:ln w="25400">
            <a:solidFill>
              <a:schemeClr val="accent1"/>
            </a:solidFill>
            <a:round/>
            <a:headEnd/>
            <a:tailEnd/>
          </a:ln>
          <a:effectLst/>
        </p:spPr>
        <p:txBody>
          <a:bodyPr wrap="none" lIns="116882" tIns="58440" rIns="116882" bIns="58440" anchor="ctr"/>
          <a:lstStyle/>
          <a:p>
            <a:pPr algn="l" defTabSz="1168794" fontAlgn="auto">
              <a:spcBef>
                <a:spcPts val="0"/>
              </a:spcBef>
              <a:spcAft>
                <a:spcPts val="0"/>
              </a:spcAft>
              <a:defRPr/>
            </a:pPr>
            <a:endParaRPr lang="en-US" sz="2300" b="0" dirty="0">
              <a:solidFill>
                <a:srgbClr val="000000"/>
              </a:solidFill>
              <a:latin typeface="Arial"/>
            </a:endParaRPr>
          </a:p>
        </p:txBody>
      </p:sp>
    </p:spTree>
    <p:extLst>
      <p:ext uri="{BB962C8B-B14F-4D97-AF65-F5344CB8AC3E}">
        <p14:creationId xmlns:p14="http://schemas.microsoft.com/office/powerpoint/2010/main" val="179985522"/>
      </p:ext>
    </p:extLst>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6" r:id="rId4"/>
    <p:sldLayoutId id="2147484257" r:id="rId5"/>
    <p:sldLayoutId id="2147484258" r:id="rId6"/>
    <p:sldLayoutId id="2147484259" r:id="rId7"/>
    <p:sldLayoutId id="2147484260" r:id="rId8"/>
    <p:sldLayoutId id="2147484261" r:id="rId9"/>
    <p:sldLayoutId id="2147484262" r:id="rId10"/>
    <p:sldLayoutId id="2147484263" r:id="rId11"/>
  </p:sldLayoutIdLst>
  <p:timing>
    <p:tnLst>
      <p:par>
        <p:cTn id="1" dur="indefinite" restart="never" nodeType="tmRoot"/>
      </p:par>
    </p:tnLst>
  </p:timing>
  <p:hf hdr="0" ftr="0" dt="0"/>
  <p:txStyles>
    <p:titleStyle>
      <a:lvl1pPr algn="l" defTabSz="1168796" rtl="0" fontAlgn="base">
        <a:spcBef>
          <a:spcPct val="0"/>
        </a:spcBef>
        <a:spcAft>
          <a:spcPct val="0"/>
        </a:spcAft>
        <a:defRPr sz="3000" b="1">
          <a:solidFill>
            <a:schemeClr val="tx2"/>
          </a:solidFill>
          <a:latin typeface="+mj-lt"/>
          <a:ea typeface="+mj-ea"/>
          <a:cs typeface="+mj-cs"/>
        </a:defRPr>
      </a:lvl1pPr>
      <a:lvl2pPr algn="l" defTabSz="1168796" rtl="0" fontAlgn="base">
        <a:spcBef>
          <a:spcPct val="0"/>
        </a:spcBef>
        <a:spcAft>
          <a:spcPct val="0"/>
        </a:spcAft>
        <a:defRPr sz="3000" b="1">
          <a:solidFill>
            <a:schemeClr val="tx2"/>
          </a:solidFill>
          <a:latin typeface="Arial" charset="0"/>
        </a:defRPr>
      </a:lvl2pPr>
      <a:lvl3pPr algn="l" defTabSz="1168796" rtl="0" fontAlgn="base">
        <a:spcBef>
          <a:spcPct val="0"/>
        </a:spcBef>
        <a:spcAft>
          <a:spcPct val="0"/>
        </a:spcAft>
        <a:defRPr sz="3000" b="1">
          <a:solidFill>
            <a:schemeClr val="tx2"/>
          </a:solidFill>
          <a:latin typeface="Arial" charset="0"/>
        </a:defRPr>
      </a:lvl3pPr>
      <a:lvl4pPr algn="l" defTabSz="1168796" rtl="0" fontAlgn="base">
        <a:spcBef>
          <a:spcPct val="0"/>
        </a:spcBef>
        <a:spcAft>
          <a:spcPct val="0"/>
        </a:spcAft>
        <a:defRPr sz="3000" b="1">
          <a:solidFill>
            <a:schemeClr val="tx2"/>
          </a:solidFill>
          <a:latin typeface="Arial" charset="0"/>
        </a:defRPr>
      </a:lvl4pPr>
      <a:lvl5pPr algn="l" defTabSz="1168796" rtl="0" fontAlgn="base">
        <a:spcBef>
          <a:spcPct val="0"/>
        </a:spcBef>
        <a:spcAft>
          <a:spcPct val="0"/>
        </a:spcAft>
        <a:defRPr sz="3000" b="1">
          <a:solidFill>
            <a:schemeClr val="tx2"/>
          </a:solidFill>
          <a:latin typeface="Arial" charset="0"/>
        </a:defRPr>
      </a:lvl5pPr>
      <a:lvl6pPr marL="524325" algn="l" defTabSz="1168796" rtl="0" eaLnBrk="1" fontAlgn="base" hangingPunct="1">
        <a:lnSpc>
          <a:spcPts val="3911"/>
        </a:lnSpc>
        <a:spcBef>
          <a:spcPct val="0"/>
        </a:spcBef>
        <a:spcAft>
          <a:spcPct val="0"/>
        </a:spcAft>
        <a:defRPr sz="3000" b="1">
          <a:solidFill>
            <a:schemeClr val="tx2"/>
          </a:solidFill>
          <a:latin typeface="Arial" charset="0"/>
        </a:defRPr>
      </a:lvl6pPr>
      <a:lvl7pPr marL="1048644" algn="l" defTabSz="1168796" rtl="0" eaLnBrk="1" fontAlgn="base" hangingPunct="1">
        <a:lnSpc>
          <a:spcPts val="3911"/>
        </a:lnSpc>
        <a:spcBef>
          <a:spcPct val="0"/>
        </a:spcBef>
        <a:spcAft>
          <a:spcPct val="0"/>
        </a:spcAft>
        <a:defRPr sz="3000" b="1">
          <a:solidFill>
            <a:schemeClr val="tx2"/>
          </a:solidFill>
          <a:latin typeface="Arial" charset="0"/>
        </a:defRPr>
      </a:lvl7pPr>
      <a:lvl8pPr marL="1572969" algn="l" defTabSz="1168796" rtl="0" eaLnBrk="1" fontAlgn="base" hangingPunct="1">
        <a:lnSpc>
          <a:spcPts val="3911"/>
        </a:lnSpc>
        <a:spcBef>
          <a:spcPct val="0"/>
        </a:spcBef>
        <a:spcAft>
          <a:spcPct val="0"/>
        </a:spcAft>
        <a:defRPr sz="3000" b="1">
          <a:solidFill>
            <a:schemeClr val="tx2"/>
          </a:solidFill>
          <a:latin typeface="Arial" charset="0"/>
        </a:defRPr>
      </a:lvl8pPr>
      <a:lvl9pPr marL="2097279" algn="l" defTabSz="1168796" rtl="0" eaLnBrk="1" fontAlgn="base" hangingPunct="1">
        <a:lnSpc>
          <a:spcPts val="3911"/>
        </a:lnSpc>
        <a:spcBef>
          <a:spcPct val="0"/>
        </a:spcBef>
        <a:spcAft>
          <a:spcPct val="0"/>
        </a:spcAft>
        <a:defRPr sz="3000" b="1">
          <a:solidFill>
            <a:schemeClr val="tx2"/>
          </a:solidFill>
          <a:latin typeface="Arial" charset="0"/>
        </a:defRPr>
      </a:lvl9pPr>
    </p:titleStyle>
    <p:bodyStyle>
      <a:lvl1pPr algn="l" defTabSz="1168796" rtl="0" fontAlgn="base">
        <a:spcBef>
          <a:spcPct val="0"/>
        </a:spcBef>
        <a:spcAft>
          <a:spcPts val="346"/>
        </a:spcAft>
        <a:buFont typeface="Arial" charset="0"/>
        <a:defRPr sz="2300">
          <a:solidFill>
            <a:schemeClr val="tx2"/>
          </a:solidFill>
          <a:latin typeface="+mn-lt"/>
          <a:ea typeface="+mn-ea"/>
          <a:cs typeface="+mn-cs"/>
        </a:defRPr>
      </a:lvl1pPr>
      <a:lvl2pPr marL="233031" indent="-233031" algn="l" defTabSz="1168796" rtl="0" fontAlgn="base">
        <a:spcBef>
          <a:spcPct val="0"/>
        </a:spcBef>
        <a:spcAft>
          <a:spcPts val="346"/>
        </a:spcAft>
        <a:buFont typeface="Arial" charset="0"/>
        <a:buChar char="•"/>
        <a:defRPr sz="2300">
          <a:solidFill>
            <a:schemeClr val="tx2"/>
          </a:solidFill>
          <a:latin typeface="+mn-lt"/>
        </a:defRPr>
      </a:lvl2pPr>
      <a:lvl3pPr marL="456966" indent="-223932" algn="l" defTabSz="1168796" rtl="0" fontAlgn="base">
        <a:spcBef>
          <a:spcPct val="0"/>
        </a:spcBef>
        <a:spcAft>
          <a:spcPts val="346"/>
        </a:spcAft>
        <a:buFont typeface="Arial" charset="0"/>
        <a:buChar char="‒"/>
        <a:defRPr sz="2300">
          <a:solidFill>
            <a:schemeClr val="tx2"/>
          </a:solidFill>
          <a:latin typeface="+mn-lt"/>
        </a:defRPr>
      </a:lvl3pPr>
      <a:lvl4pPr marL="689984" indent="-233031" algn="l" defTabSz="1168796" rtl="0" fontAlgn="base">
        <a:spcBef>
          <a:spcPct val="0"/>
        </a:spcBef>
        <a:spcAft>
          <a:spcPts val="692"/>
        </a:spcAft>
        <a:buFont typeface="Arial" charset="0"/>
        <a:buChar char="•"/>
        <a:defRPr>
          <a:solidFill>
            <a:schemeClr val="tx2"/>
          </a:solidFill>
          <a:latin typeface="+mn-lt"/>
        </a:defRPr>
      </a:lvl4pPr>
      <a:lvl5pPr marL="910283" indent="-220298" algn="l" defTabSz="1168796" rtl="0" fontAlgn="base">
        <a:spcBef>
          <a:spcPct val="0"/>
        </a:spcBef>
        <a:spcAft>
          <a:spcPts val="692"/>
        </a:spcAft>
        <a:buFont typeface="Arial" charset="0"/>
        <a:buChar char="‒"/>
        <a:defRPr>
          <a:solidFill>
            <a:schemeClr val="tx2"/>
          </a:solidFill>
          <a:latin typeface="+mn-lt"/>
        </a:defRPr>
      </a:lvl5pPr>
      <a:lvl6pPr marL="1434601" indent="-220298" algn="l" defTabSz="1168796" rtl="0" eaLnBrk="1" fontAlgn="base" hangingPunct="1">
        <a:spcBef>
          <a:spcPct val="0"/>
        </a:spcBef>
        <a:spcAft>
          <a:spcPts val="692"/>
        </a:spcAft>
        <a:buFont typeface="Arial" charset="0"/>
        <a:buChar char="‒"/>
        <a:defRPr>
          <a:solidFill>
            <a:schemeClr val="tx2"/>
          </a:solidFill>
          <a:latin typeface="+mn-lt"/>
        </a:defRPr>
      </a:lvl6pPr>
      <a:lvl7pPr marL="1958921" indent="-220298" algn="l" defTabSz="1168796" rtl="0" eaLnBrk="1" fontAlgn="base" hangingPunct="1">
        <a:spcBef>
          <a:spcPct val="0"/>
        </a:spcBef>
        <a:spcAft>
          <a:spcPts val="692"/>
        </a:spcAft>
        <a:buFont typeface="Arial" charset="0"/>
        <a:buChar char="‒"/>
        <a:defRPr>
          <a:solidFill>
            <a:schemeClr val="tx2"/>
          </a:solidFill>
          <a:latin typeface="+mn-lt"/>
        </a:defRPr>
      </a:lvl7pPr>
      <a:lvl8pPr marL="2483237" indent="-220298" algn="l" defTabSz="1168796" rtl="0" eaLnBrk="1" fontAlgn="base" hangingPunct="1">
        <a:spcBef>
          <a:spcPct val="0"/>
        </a:spcBef>
        <a:spcAft>
          <a:spcPts val="692"/>
        </a:spcAft>
        <a:buFont typeface="Arial" charset="0"/>
        <a:buChar char="‒"/>
        <a:defRPr>
          <a:solidFill>
            <a:schemeClr val="tx2"/>
          </a:solidFill>
          <a:latin typeface="+mn-lt"/>
        </a:defRPr>
      </a:lvl8pPr>
      <a:lvl9pPr marL="3007560" indent="-220298" algn="l" defTabSz="1168796" rtl="0" eaLnBrk="1" fontAlgn="base" hangingPunct="1">
        <a:spcBef>
          <a:spcPct val="0"/>
        </a:spcBef>
        <a:spcAft>
          <a:spcPts val="692"/>
        </a:spcAft>
        <a:buFont typeface="Arial" charset="0"/>
        <a:buChar char="‒"/>
        <a:defRPr>
          <a:solidFill>
            <a:schemeClr val="tx2"/>
          </a:solidFill>
          <a:latin typeface="+mn-lt"/>
        </a:defRPr>
      </a:lvl9pPr>
    </p:bodyStyle>
    <p:otherStyle>
      <a:defPPr>
        <a:defRPr lang="en-US"/>
      </a:defPPr>
      <a:lvl1pPr marL="0" algn="l" defTabSz="1048644" rtl="0" eaLnBrk="1" latinLnBrk="0" hangingPunct="1">
        <a:defRPr sz="2100" kern="1200">
          <a:solidFill>
            <a:schemeClr val="tx1"/>
          </a:solidFill>
          <a:latin typeface="+mn-lt"/>
          <a:ea typeface="+mn-ea"/>
          <a:cs typeface="+mn-cs"/>
        </a:defRPr>
      </a:lvl1pPr>
      <a:lvl2pPr marL="524325" algn="l" defTabSz="1048644" rtl="0" eaLnBrk="1" latinLnBrk="0" hangingPunct="1">
        <a:defRPr sz="2100" kern="1200">
          <a:solidFill>
            <a:schemeClr val="tx1"/>
          </a:solidFill>
          <a:latin typeface="+mn-lt"/>
          <a:ea typeface="+mn-ea"/>
          <a:cs typeface="+mn-cs"/>
        </a:defRPr>
      </a:lvl2pPr>
      <a:lvl3pPr marL="1048644" algn="l" defTabSz="1048644" rtl="0" eaLnBrk="1" latinLnBrk="0" hangingPunct="1">
        <a:defRPr sz="2100" kern="1200">
          <a:solidFill>
            <a:schemeClr val="tx1"/>
          </a:solidFill>
          <a:latin typeface="+mn-lt"/>
          <a:ea typeface="+mn-ea"/>
          <a:cs typeface="+mn-cs"/>
        </a:defRPr>
      </a:lvl3pPr>
      <a:lvl4pPr marL="1572969" algn="l" defTabSz="1048644" rtl="0" eaLnBrk="1" latinLnBrk="0" hangingPunct="1">
        <a:defRPr sz="2100" kern="1200">
          <a:solidFill>
            <a:schemeClr val="tx1"/>
          </a:solidFill>
          <a:latin typeface="+mn-lt"/>
          <a:ea typeface="+mn-ea"/>
          <a:cs typeface="+mn-cs"/>
        </a:defRPr>
      </a:lvl4pPr>
      <a:lvl5pPr marL="2097279" algn="l" defTabSz="1048644" rtl="0" eaLnBrk="1" latinLnBrk="0" hangingPunct="1">
        <a:defRPr sz="2100" kern="1200">
          <a:solidFill>
            <a:schemeClr val="tx1"/>
          </a:solidFill>
          <a:latin typeface="+mn-lt"/>
          <a:ea typeface="+mn-ea"/>
          <a:cs typeface="+mn-cs"/>
        </a:defRPr>
      </a:lvl5pPr>
      <a:lvl6pPr marL="2621600" algn="l" defTabSz="1048644" rtl="0" eaLnBrk="1" latinLnBrk="0" hangingPunct="1">
        <a:defRPr sz="2100" kern="1200">
          <a:solidFill>
            <a:schemeClr val="tx1"/>
          </a:solidFill>
          <a:latin typeface="+mn-lt"/>
          <a:ea typeface="+mn-ea"/>
          <a:cs typeface="+mn-cs"/>
        </a:defRPr>
      </a:lvl6pPr>
      <a:lvl7pPr marL="3145918" algn="l" defTabSz="1048644" rtl="0" eaLnBrk="1" latinLnBrk="0" hangingPunct="1">
        <a:defRPr sz="2100" kern="1200">
          <a:solidFill>
            <a:schemeClr val="tx1"/>
          </a:solidFill>
          <a:latin typeface="+mn-lt"/>
          <a:ea typeface="+mn-ea"/>
          <a:cs typeface="+mn-cs"/>
        </a:defRPr>
      </a:lvl7pPr>
      <a:lvl8pPr marL="3670239" algn="l" defTabSz="1048644" rtl="0" eaLnBrk="1" latinLnBrk="0" hangingPunct="1">
        <a:defRPr sz="2100" kern="1200">
          <a:solidFill>
            <a:schemeClr val="tx1"/>
          </a:solidFill>
          <a:latin typeface="+mn-lt"/>
          <a:ea typeface="+mn-ea"/>
          <a:cs typeface="+mn-cs"/>
        </a:defRPr>
      </a:lvl8pPr>
      <a:lvl9pPr marL="4194558" algn="l" defTabSz="1048644" rtl="0" eaLnBrk="1" latinLnBrk="0" hangingPunct="1">
        <a:defRPr sz="21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571705" y="396797"/>
            <a:ext cx="11791531" cy="71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GB" smtClean="0"/>
          </a:p>
        </p:txBody>
      </p:sp>
      <p:sp>
        <p:nvSpPr>
          <p:cNvPr id="1028" name="Text Placeholder 2"/>
          <p:cNvSpPr>
            <a:spLocks noGrp="1"/>
          </p:cNvSpPr>
          <p:nvPr>
            <p:ph type="body" idx="1"/>
          </p:nvPr>
        </p:nvSpPr>
        <p:spPr bwMode="auto">
          <a:xfrm>
            <a:off x="567659" y="1349100"/>
            <a:ext cx="11791531" cy="5915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7" name="Slide Number Placeholder 9"/>
          <p:cNvSpPr>
            <a:spLocks noGrp="1"/>
          </p:cNvSpPr>
          <p:nvPr>
            <p:ph type="sldNum" sz="quarter" idx="4"/>
          </p:nvPr>
        </p:nvSpPr>
        <p:spPr>
          <a:xfrm>
            <a:off x="581813" y="7427994"/>
            <a:ext cx="395947" cy="163480"/>
          </a:xfrm>
          <a:prstGeom prst="rect">
            <a:avLst/>
          </a:prstGeom>
        </p:spPr>
        <p:txBody>
          <a:bodyPr vert="horz" wrap="square" lIns="0" tIns="0" rIns="0" bIns="0" numCol="1" anchor="t" anchorCtr="0" compatLnSpc="1">
            <a:prstTxWarp prst="textNoShape">
              <a:avLst/>
            </a:prstTxWarp>
            <a:noAutofit/>
          </a:bodyPr>
          <a:lstStyle>
            <a:lvl1pPr>
              <a:defRPr sz="1200" b="1">
                <a:solidFill>
                  <a:schemeClr val="tx2"/>
                </a:solidFill>
              </a:defRPr>
            </a:lvl1pPr>
          </a:lstStyle>
          <a:p>
            <a:pPr algn="l" defTabSz="1173034" fontAlgn="auto">
              <a:spcBef>
                <a:spcPts val="0"/>
              </a:spcBef>
              <a:spcAft>
                <a:spcPts val="0"/>
              </a:spcAft>
            </a:pPr>
            <a:fld id="{E0CE75A5-5D6D-40C3-9373-C97AC06615CB}" type="slidenum">
              <a:rPr lang="en-GB" smtClean="0">
                <a:solidFill>
                  <a:srgbClr val="002776"/>
                </a:solidFill>
                <a:latin typeface="Arial"/>
              </a:rPr>
              <a:pPr algn="l" defTabSz="1173034" fontAlgn="auto">
                <a:spcBef>
                  <a:spcPts val="0"/>
                </a:spcBef>
                <a:spcAft>
                  <a:spcPts val="0"/>
                </a:spcAft>
              </a:pPr>
              <a:t>‹#›</a:t>
            </a:fld>
            <a:endParaRPr lang="en-GB" dirty="0">
              <a:solidFill>
                <a:srgbClr val="002776"/>
              </a:solidFill>
              <a:latin typeface="Arial"/>
            </a:endParaRPr>
          </a:p>
        </p:txBody>
      </p:sp>
      <p:sp>
        <p:nvSpPr>
          <p:cNvPr id="8" name="Line 40"/>
          <p:cNvSpPr>
            <a:spLocks noChangeShapeType="1"/>
          </p:cNvSpPr>
          <p:nvPr userDrawn="1"/>
        </p:nvSpPr>
        <p:spPr bwMode="auto">
          <a:xfrm>
            <a:off x="493402" y="863600"/>
            <a:ext cx="11745913" cy="0"/>
          </a:xfrm>
          <a:prstGeom prst="line">
            <a:avLst/>
          </a:prstGeom>
          <a:noFill/>
          <a:ln w="25400">
            <a:solidFill>
              <a:schemeClr val="accent1"/>
            </a:solidFill>
            <a:round/>
            <a:headEnd/>
            <a:tailEnd/>
          </a:ln>
          <a:effectLst/>
        </p:spPr>
        <p:txBody>
          <a:bodyPr wrap="none" lIns="117305" tIns="58651" rIns="117305" bIns="58651" anchor="ctr"/>
          <a:lstStyle/>
          <a:p>
            <a:pPr algn="l" defTabSz="1173034" fontAlgn="auto">
              <a:spcBef>
                <a:spcPts val="0"/>
              </a:spcBef>
              <a:spcAft>
                <a:spcPts val="0"/>
              </a:spcAft>
              <a:defRPr/>
            </a:pPr>
            <a:endParaRPr lang="en-US" sz="2300" b="0" dirty="0">
              <a:solidFill>
                <a:srgbClr val="000000"/>
              </a:solidFill>
              <a:latin typeface="Arial"/>
            </a:endParaRPr>
          </a:p>
        </p:txBody>
      </p:sp>
    </p:spTree>
    <p:extLst>
      <p:ext uri="{BB962C8B-B14F-4D97-AF65-F5344CB8AC3E}">
        <p14:creationId xmlns:p14="http://schemas.microsoft.com/office/powerpoint/2010/main" val="972193325"/>
      </p:ext>
    </p:extLst>
  </p:cSld>
  <p:clrMap bg1="lt1" tx1="dk1" bg2="lt2" tx2="dk2" accent1="accent1" accent2="accent2" accent3="accent3" accent4="accent4" accent5="accent5" accent6="accent6" hlink="hlink" folHlink="folHlink"/>
  <p:sldLayoutIdLst>
    <p:sldLayoutId id="2147484265" r:id="rId1"/>
    <p:sldLayoutId id="2147484266" r:id="rId2"/>
    <p:sldLayoutId id="2147484267" r:id="rId3"/>
    <p:sldLayoutId id="2147484268" r:id="rId4"/>
    <p:sldLayoutId id="2147484269" r:id="rId5"/>
    <p:sldLayoutId id="2147484270" r:id="rId6"/>
    <p:sldLayoutId id="2147484271" r:id="rId7"/>
    <p:sldLayoutId id="2147484272" r:id="rId8"/>
    <p:sldLayoutId id="2147484273" r:id="rId9"/>
    <p:sldLayoutId id="2147484274" r:id="rId10"/>
    <p:sldLayoutId id="2147484275" r:id="rId11"/>
  </p:sldLayoutIdLst>
  <p:timing>
    <p:tnLst>
      <p:par>
        <p:cTn id="1" dur="indefinite" restart="never" nodeType="tmRoot"/>
      </p:par>
    </p:tnLst>
  </p:timing>
  <p:hf hdr="0" dt="0"/>
  <p:txStyles>
    <p:titleStyle>
      <a:lvl1pPr algn="l" defTabSz="1173039" rtl="0" fontAlgn="base">
        <a:spcBef>
          <a:spcPct val="0"/>
        </a:spcBef>
        <a:spcAft>
          <a:spcPct val="0"/>
        </a:spcAft>
        <a:defRPr sz="2800" b="1">
          <a:solidFill>
            <a:schemeClr val="tx2"/>
          </a:solidFill>
          <a:latin typeface="+mj-lt"/>
          <a:ea typeface="+mj-ea"/>
          <a:cs typeface="+mj-cs"/>
        </a:defRPr>
      </a:lvl1pPr>
      <a:lvl2pPr algn="l" defTabSz="1173039" rtl="0" fontAlgn="base">
        <a:spcBef>
          <a:spcPct val="0"/>
        </a:spcBef>
        <a:spcAft>
          <a:spcPct val="0"/>
        </a:spcAft>
        <a:defRPr sz="2800" b="1">
          <a:solidFill>
            <a:schemeClr val="tx2"/>
          </a:solidFill>
          <a:latin typeface="Arial" charset="0"/>
        </a:defRPr>
      </a:lvl2pPr>
      <a:lvl3pPr algn="l" defTabSz="1173039" rtl="0" fontAlgn="base">
        <a:spcBef>
          <a:spcPct val="0"/>
        </a:spcBef>
        <a:spcAft>
          <a:spcPct val="0"/>
        </a:spcAft>
        <a:defRPr sz="2800" b="1">
          <a:solidFill>
            <a:schemeClr val="tx2"/>
          </a:solidFill>
          <a:latin typeface="Arial" charset="0"/>
        </a:defRPr>
      </a:lvl3pPr>
      <a:lvl4pPr algn="l" defTabSz="1173039" rtl="0" fontAlgn="base">
        <a:spcBef>
          <a:spcPct val="0"/>
        </a:spcBef>
        <a:spcAft>
          <a:spcPct val="0"/>
        </a:spcAft>
        <a:defRPr sz="2800" b="1">
          <a:solidFill>
            <a:schemeClr val="tx2"/>
          </a:solidFill>
          <a:latin typeface="Arial" charset="0"/>
        </a:defRPr>
      </a:lvl4pPr>
      <a:lvl5pPr algn="l" defTabSz="1173039" rtl="0" fontAlgn="base">
        <a:spcBef>
          <a:spcPct val="0"/>
        </a:spcBef>
        <a:spcAft>
          <a:spcPct val="0"/>
        </a:spcAft>
        <a:defRPr sz="2800" b="1">
          <a:solidFill>
            <a:schemeClr val="tx2"/>
          </a:solidFill>
          <a:latin typeface="Arial" charset="0"/>
        </a:defRPr>
      </a:lvl5pPr>
      <a:lvl6pPr marL="526224" algn="l" defTabSz="1173039" rtl="0" eaLnBrk="1" fontAlgn="base" hangingPunct="1">
        <a:lnSpc>
          <a:spcPts val="3920"/>
        </a:lnSpc>
        <a:spcBef>
          <a:spcPct val="0"/>
        </a:spcBef>
        <a:spcAft>
          <a:spcPct val="0"/>
        </a:spcAft>
        <a:defRPr sz="2800" b="1">
          <a:solidFill>
            <a:schemeClr val="tx2"/>
          </a:solidFill>
          <a:latin typeface="Arial" charset="0"/>
        </a:defRPr>
      </a:lvl6pPr>
      <a:lvl7pPr marL="1052453" algn="l" defTabSz="1173039" rtl="0" eaLnBrk="1" fontAlgn="base" hangingPunct="1">
        <a:lnSpc>
          <a:spcPts val="3920"/>
        </a:lnSpc>
        <a:spcBef>
          <a:spcPct val="0"/>
        </a:spcBef>
        <a:spcAft>
          <a:spcPct val="0"/>
        </a:spcAft>
        <a:defRPr sz="2800" b="1">
          <a:solidFill>
            <a:schemeClr val="tx2"/>
          </a:solidFill>
          <a:latin typeface="Arial" charset="0"/>
        </a:defRPr>
      </a:lvl7pPr>
      <a:lvl8pPr marL="1578675" algn="l" defTabSz="1173039" rtl="0" eaLnBrk="1" fontAlgn="base" hangingPunct="1">
        <a:lnSpc>
          <a:spcPts val="3920"/>
        </a:lnSpc>
        <a:spcBef>
          <a:spcPct val="0"/>
        </a:spcBef>
        <a:spcAft>
          <a:spcPct val="0"/>
        </a:spcAft>
        <a:defRPr sz="2800" b="1">
          <a:solidFill>
            <a:schemeClr val="tx2"/>
          </a:solidFill>
          <a:latin typeface="Arial" charset="0"/>
        </a:defRPr>
      </a:lvl8pPr>
      <a:lvl9pPr marL="2104895" algn="l" defTabSz="1173039" rtl="0" eaLnBrk="1" fontAlgn="base" hangingPunct="1">
        <a:lnSpc>
          <a:spcPts val="3920"/>
        </a:lnSpc>
        <a:spcBef>
          <a:spcPct val="0"/>
        </a:spcBef>
        <a:spcAft>
          <a:spcPct val="0"/>
        </a:spcAft>
        <a:defRPr sz="2800" b="1">
          <a:solidFill>
            <a:schemeClr val="tx2"/>
          </a:solidFill>
          <a:latin typeface="Arial" charset="0"/>
        </a:defRPr>
      </a:lvl9pPr>
    </p:titleStyle>
    <p:bodyStyle>
      <a:lvl1pPr algn="l" defTabSz="1173039" rtl="0" fontAlgn="base">
        <a:spcBef>
          <a:spcPct val="0"/>
        </a:spcBef>
        <a:spcAft>
          <a:spcPts val="346"/>
        </a:spcAft>
        <a:buFont typeface="Arial" charset="0"/>
        <a:defRPr sz="2300">
          <a:solidFill>
            <a:schemeClr val="tx2"/>
          </a:solidFill>
          <a:latin typeface="+mn-lt"/>
          <a:ea typeface="+mn-ea"/>
          <a:cs typeface="+mn-cs"/>
        </a:defRPr>
      </a:lvl1pPr>
      <a:lvl2pPr marL="233871" indent="-233871" algn="l" defTabSz="1173039" rtl="0" fontAlgn="base">
        <a:spcBef>
          <a:spcPct val="0"/>
        </a:spcBef>
        <a:spcAft>
          <a:spcPts val="346"/>
        </a:spcAft>
        <a:buFont typeface="Arial" charset="0"/>
        <a:buChar char="•"/>
        <a:defRPr sz="2300">
          <a:solidFill>
            <a:schemeClr val="tx2"/>
          </a:solidFill>
          <a:latin typeface="+mn-lt"/>
        </a:defRPr>
      </a:lvl2pPr>
      <a:lvl3pPr marL="458622" indent="-224744" algn="l" defTabSz="1173039" rtl="0" fontAlgn="base">
        <a:spcBef>
          <a:spcPct val="0"/>
        </a:spcBef>
        <a:spcAft>
          <a:spcPts val="346"/>
        </a:spcAft>
        <a:buFont typeface="Arial" charset="0"/>
        <a:buChar char="‒"/>
        <a:defRPr sz="2300">
          <a:solidFill>
            <a:schemeClr val="tx2"/>
          </a:solidFill>
          <a:latin typeface="+mn-lt"/>
        </a:defRPr>
      </a:lvl3pPr>
      <a:lvl4pPr marL="692493" indent="-233871" algn="l" defTabSz="1173039" rtl="0" fontAlgn="base">
        <a:spcBef>
          <a:spcPct val="0"/>
        </a:spcBef>
        <a:spcAft>
          <a:spcPts val="692"/>
        </a:spcAft>
        <a:buFont typeface="Arial" charset="0"/>
        <a:buChar char="•"/>
        <a:defRPr>
          <a:solidFill>
            <a:schemeClr val="tx2"/>
          </a:solidFill>
          <a:latin typeface="+mn-lt"/>
        </a:defRPr>
      </a:lvl4pPr>
      <a:lvl5pPr marL="913585" indent="-221092" algn="l" defTabSz="1173039" rtl="0" fontAlgn="base">
        <a:spcBef>
          <a:spcPct val="0"/>
        </a:spcBef>
        <a:spcAft>
          <a:spcPts val="692"/>
        </a:spcAft>
        <a:buFont typeface="Arial" charset="0"/>
        <a:buChar char="‒"/>
        <a:defRPr>
          <a:solidFill>
            <a:schemeClr val="tx2"/>
          </a:solidFill>
          <a:latin typeface="+mn-lt"/>
        </a:defRPr>
      </a:lvl5pPr>
      <a:lvl6pPr marL="1439805" indent="-221092" algn="l" defTabSz="1173039" rtl="0" eaLnBrk="1" fontAlgn="base" hangingPunct="1">
        <a:spcBef>
          <a:spcPct val="0"/>
        </a:spcBef>
        <a:spcAft>
          <a:spcPts val="692"/>
        </a:spcAft>
        <a:buFont typeface="Arial" charset="0"/>
        <a:buChar char="‒"/>
        <a:defRPr>
          <a:solidFill>
            <a:schemeClr val="tx2"/>
          </a:solidFill>
          <a:latin typeface="+mn-lt"/>
        </a:defRPr>
      </a:lvl6pPr>
      <a:lvl7pPr marL="1966036" indent="-221092" algn="l" defTabSz="1173039" rtl="0" eaLnBrk="1" fontAlgn="base" hangingPunct="1">
        <a:spcBef>
          <a:spcPct val="0"/>
        </a:spcBef>
        <a:spcAft>
          <a:spcPts val="692"/>
        </a:spcAft>
        <a:buFont typeface="Arial" charset="0"/>
        <a:buChar char="‒"/>
        <a:defRPr>
          <a:solidFill>
            <a:schemeClr val="tx2"/>
          </a:solidFill>
          <a:latin typeface="+mn-lt"/>
        </a:defRPr>
      </a:lvl7pPr>
      <a:lvl8pPr marL="2492254" indent="-221092" algn="l" defTabSz="1173039" rtl="0" eaLnBrk="1" fontAlgn="base" hangingPunct="1">
        <a:spcBef>
          <a:spcPct val="0"/>
        </a:spcBef>
        <a:spcAft>
          <a:spcPts val="692"/>
        </a:spcAft>
        <a:buFont typeface="Arial" charset="0"/>
        <a:buChar char="‒"/>
        <a:defRPr>
          <a:solidFill>
            <a:schemeClr val="tx2"/>
          </a:solidFill>
          <a:latin typeface="+mn-lt"/>
        </a:defRPr>
      </a:lvl8pPr>
      <a:lvl9pPr marL="3018479" indent="-221092" algn="l" defTabSz="1173039" rtl="0" eaLnBrk="1" fontAlgn="base" hangingPunct="1">
        <a:spcBef>
          <a:spcPct val="0"/>
        </a:spcBef>
        <a:spcAft>
          <a:spcPts val="692"/>
        </a:spcAft>
        <a:buFont typeface="Arial" charset="0"/>
        <a:buChar char="‒"/>
        <a:defRPr>
          <a:solidFill>
            <a:schemeClr val="tx2"/>
          </a:solidFill>
          <a:latin typeface="+mn-lt"/>
        </a:defRPr>
      </a:lvl9pPr>
    </p:bodyStyle>
    <p:otherStyle>
      <a:defPPr>
        <a:defRPr lang="en-US"/>
      </a:defPPr>
      <a:lvl1pPr marL="0" algn="l" defTabSz="1052453" rtl="0" eaLnBrk="1" latinLnBrk="0" hangingPunct="1">
        <a:defRPr sz="2100" kern="1200">
          <a:solidFill>
            <a:schemeClr val="tx1"/>
          </a:solidFill>
          <a:latin typeface="+mn-lt"/>
          <a:ea typeface="+mn-ea"/>
          <a:cs typeface="+mn-cs"/>
        </a:defRPr>
      </a:lvl1pPr>
      <a:lvl2pPr marL="526224" algn="l" defTabSz="1052453" rtl="0" eaLnBrk="1" latinLnBrk="0" hangingPunct="1">
        <a:defRPr sz="2100" kern="1200">
          <a:solidFill>
            <a:schemeClr val="tx1"/>
          </a:solidFill>
          <a:latin typeface="+mn-lt"/>
          <a:ea typeface="+mn-ea"/>
          <a:cs typeface="+mn-cs"/>
        </a:defRPr>
      </a:lvl2pPr>
      <a:lvl3pPr marL="1052453" algn="l" defTabSz="1052453" rtl="0" eaLnBrk="1" latinLnBrk="0" hangingPunct="1">
        <a:defRPr sz="2100" kern="1200">
          <a:solidFill>
            <a:schemeClr val="tx1"/>
          </a:solidFill>
          <a:latin typeface="+mn-lt"/>
          <a:ea typeface="+mn-ea"/>
          <a:cs typeface="+mn-cs"/>
        </a:defRPr>
      </a:lvl3pPr>
      <a:lvl4pPr marL="1578675" algn="l" defTabSz="1052453" rtl="0" eaLnBrk="1" latinLnBrk="0" hangingPunct="1">
        <a:defRPr sz="2100" kern="1200">
          <a:solidFill>
            <a:schemeClr val="tx1"/>
          </a:solidFill>
          <a:latin typeface="+mn-lt"/>
          <a:ea typeface="+mn-ea"/>
          <a:cs typeface="+mn-cs"/>
        </a:defRPr>
      </a:lvl4pPr>
      <a:lvl5pPr marL="2104895" algn="l" defTabSz="1052453" rtl="0" eaLnBrk="1" latinLnBrk="0" hangingPunct="1">
        <a:defRPr sz="2100" kern="1200">
          <a:solidFill>
            <a:schemeClr val="tx1"/>
          </a:solidFill>
          <a:latin typeface="+mn-lt"/>
          <a:ea typeface="+mn-ea"/>
          <a:cs typeface="+mn-cs"/>
        </a:defRPr>
      </a:lvl5pPr>
      <a:lvl6pPr marL="2631122" algn="l" defTabSz="1052453" rtl="0" eaLnBrk="1" latinLnBrk="0" hangingPunct="1">
        <a:defRPr sz="2100" kern="1200">
          <a:solidFill>
            <a:schemeClr val="tx1"/>
          </a:solidFill>
          <a:latin typeface="+mn-lt"/>
          <a:ea typeface="+mn-ea"/>
          <a:cs typeface="+mn-cs"/>
        </a:defRPr>
      </a:lvl6pPr>
      <a:lvl7pPr marL="3157346" algn="l" defTabSz="1052453" rtl="0" eaLnBrk="1" latinLnBrk="0" hangingPunct="1">
        <a:defRPr sz="2100" kern="1200">
          <a:solidFill>
            <a:schemeClr val="tx1"/>
          </a:solidFill>
          <a:latin typeface="+mn-lt"/>
          <a:ea typeface="+mn-ea"/>
          <a:cs typeface="+mn-cs"/>
        </a:defRPr>
      </a:lvl7pPr>
      <a:lvl8pPr marL="3683569" algn="l" defTabSz="1052453" rtl="0" eaLnBrk="1" latinLnBrk="0" hangingPunct="1">
        <a:defRPr sz="2100" kern="1200">
          <a:solidFill>
            <a:schemeClr val="tx1"/>
          </a:solidFill>
          <a:latin typeface="+mn-lt"/>
          <a:ea typeface="+mn-ea"/>
          <a:cs typeface="+mn-cs"/>
        </a:defRPr>
      </a:lvl8pPr>
      <a:lvl9pPr marL="4209793" algn="l" defTabSz="1052453" rtl="0" eaLnBrk="1" latinLnBrk="0" hangingPunct="1">
        <a:defRPr sz="21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571733" y="396823"/>
            <a:ext cx="11791531" cy="71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GB" smtClean="0"/>
          </a:p>
        </p:txBody>
      </p:sp>
      <p:sp>
        <p:nvSpPr>
          <p:cNvPr id="1028" name="Text Placeholder 2"/>
          <p:cNvSpPr>
            <a:spLocks noGrp="1"/>
          </p:cNvSpPr>
          <p:nvPr>
            <p:ph type="body" idx="1"/>
          </p:nvPr>
        </p:nvSpPr>
        <p:spPr bwMode="auto">
          <a:xfrm>
            <a:off x="567672" y="1349103"/>
            <a:ext cx="11791531" cy="5915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7" name="Slide Number Placeholder 9"/>
          <p:cNvSpPr>
            <a:spLocks noGrp="1"/>
          </p:cNvSpPr>
          <p:nvPr>
            <p:ph type="sldNum" sz="quarter" idx="4"/>
          </p:nvPr>
        </p:nvSpPr>
        <p:spPr>
          <a:xfrm>
            <a:off x="581829" y="7428045"/>
            <a:ext cx="395947" cy="163480"/>
          </a:xfrm>
          <a:prstGeom prst="rect">
            <a:avLst/>
          </a:prstGeom>
        </p:spPr>
        <p:txBody>
          <a:bodyPr vert="horz" wrap="square" lIns="0" tIns="0" rIns="0" bIns="0" numCol="1" anchor="t" anchorCtr="0" compatLnSpc="1">
            <a:prstTxWarp prst="textNoShape">
              <a:avLst/>
            </a:prstTxWarp>
            <a:noAutofit/>
          </a:bodyPr>
          <a:lstStyle>
            <a:lvl1pPr>
              <a:defRPr sz="1200" b="1">
                <a:solidFill>
                  <a:schemeClr val="tx2"/>
                </a:solidFill>
              </a:defRPr>
            </a:lvl1pPr>
          </a:lstStyle>
          <a:p>
            <a:pPr algn="l" defTabSz="1168361" fontAlgn="auto">
              <a:spcBef>
                <a:spcPts val="0"/>
              </a:spcBef>
              <a:spcAft>
                <a:spcPts val="0"/>
              </a:spcAft>
            </a:pPr>
            <a:fld id="{E0CE75A5-5D6D-40C3-9373-C97AC06615CB}" type="slidenum">
              <a:rPr lang="en-GB" smtClean="0">
                <a:solidFill>
                  <a:srgbClr val="002776"/>
                </a:solidFill>
                <a:latin typeface="Arial"/>
              </a:rPr>
              <a:pPr algn="l" defTabSz="1168361" fontAlgn="auto">
                <a:spcBef>
                  <a:spcPts val="0"/>
                </a:spcBef>
                <a:spcAft>
                  <a:spcPts val="0"/>
                </a:spcAft>
              </a:pPr>
              <a:t>‹#›</a:t>
            </a:fld>
            <a:endParaRPr lang="en-GB" dirty="0">
              <a:solidFill>
                <a:srgbClr val="002776"/>
              </a:solidFill>
              <a:latin typeface="Arial"/>
            </a:endParaRPr>
          </a:p>
        </p:txBody>
      </p:sp>
      <p:sp>
        <p:nvSpPr>
          <p:cNvPr id="8" name="Line 40"/>
          <p:cNvSpPr>
            <a:spLocks noChangeShapeType="1"/>
          </p:cNvSpPr>
          <p:nvPr userDrawn="1"/>
        </p:nvSpPr>
        <p:spPr bwMode="auto">
          <a:xfrm>
            <a:off x="493419" y="863600"/>
            <a:ext cx="11745913" cy="0"/>
          </a:xfrm>
          <a:prstGeom prst="line">
            <a:avLst/>
          </a:prstGeom>
          <a:noFill/>
          <a:ln w="25400">
            <a:solidFill>
              <a:schemeClr val="accent1"/>
            </a:solidFill>
            <a:round/>
            <a:headEnd/>
            <a:tailEnd/>
          </a:ln>
          <a:effectLst/>
        </p:spPr>
        <p:txBody>
          <a:bodyPr wrap="none" lIns="116838" tIns="58418" rIns="116838" bIns="58418" anchor="ctr"/>
          <a:lstStyle/>
          <a:p>
            <a:pPr algn="l" defTabSz="1168361" fontAlgn="auto">
              <a:spcBef>
                <a:spcPts val="0"/>
              </a:spcBef>
              <a:spcAft>
                <a:spcPts val="0"/>
              </a:spcAft>
              <a:defRPr/>
            </a:pPr>
            <a:endParaRPr lang="en-US" sz="2300" b="0" dirty="0">
              <a:solidFill>
                <a:srgbClr val="000000"/>
              </a:solidFill>
              <a:latin typeface="Arial"/>
            </a:endParaRPr>
          </a:p>
        </p:txBody>
      </p:sp>
    </p:spTree>
    <p:extLst>
      <p:ext uri="{BB962C8B-B14F-4D97-AF65-F5344CB8AC3E}">
        <p14:creationId xmlns:p14="http://schemas.microsoft.com/office/powerpoint/2010/main" val="3078077104"/>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 id="2147484282" r:id="rId6"/>
    <p:sldLayoutId id="2147484283" r:id="rId7"/>
    <p:sldLayoutId id="2147484284" r:id="rId8"/>
    <p:sldLayoutId id="2147484285" r:id="rId9"/>
    <p:sldLayoutId id="2147484286" r:id="rId10"/>
    <p:sldLayoutId id="2147484287" r:id="rId11"/>
  </p:sldLayoutIdLst>
  <p:timing>
    <p:tnLst>
      <p:par>
        <p:cTn id="1" dur="indefinite" restart="never" nodeType="tmRoot"/>
      </p:par>
    </p:tnLst>
  </p:timing>
  <p:hf hdr="0" ftr="0" dt="0"/>
  <p:txStyles>
    <p:titleStyle>
      <a:lvl1pPr algn="l" defTabSz="1168364" rtl="0" fontAlgn="base">
        <a:spcBef>
          <a:spcPct val="0"/>
        </a:spcBef>
        <a:spcAft>
          <a:spcPct val="0"/>
        </a:spcAft>
        <a:defRPr sz="3000" b="1">
          <a:solidFill>
            <a:schemeClr val="tx2"/>
          </a:solidFill>
          <a:latin typeface="+mj-lt"/>
          <a:ea typeface="+mj-ea"/>
          <a:cs typeface="+mj-cs"/>
        </a:defRPr>
      </a:lvl1pPr>
      <a:lvl2pPr algn="l" defTabSz="1168364" rtl="0" fontAlgn="base">
        <a:spcBef>
          <a:spcPct val="0"/>
        </a:spcBef>
        <a:spcAft>
          <a:spcPct val="0"/>
        </a:spcAft>
        <a:defRPr sz="3000" b="1">
          <a:solidFill>
            <a:schemeClr val="tx2"/>
          </a:solidFill>
          <a:latin typeface="Arial" charset="0"/>
        </a:defRPr>
      </a:lvl2pPr>
      <a:lvl3pPr algn="l" defTabSz="1168364" rtl="0" fontAlgn="base">
        <a:spcBef>
          <a:spcPct val="0"/>
        </a:spcBef>
        <a:spcAft>
          <a:spcPct val="0"/>
        </a:spcAft>
        <a:defRPr sz="3000" b="1">
          <a:solidFill>
            <a:schemeClr val="tx2"/>
          </a:solidFill>
          <a:latin typeface="Arial" charset="0"/>
        </a:defRPr>
      </a:lvl3pPr>
      <a:lvl4pPr algn="l" defTabSz="1168364" rtl="0" fontAlgn="base">
        <a:spcBef>
          <a:spcPct val="0"/>
        </a:spcBef>
        <a:spcAft>
          <a:spcPct val="0"/>
        </a:spcAft>
        <a:defRPr sz="3000" b="1">
          <a:solidFill>
            <a:schemeClr val="tx2"/>
          </a:solidFill>
          <a:latin typeface="Arial" charset="0"/>
        </a:defRPr>
      </a:lvl4pPr>
      <a:lvl5pPr algn="l" defTabSz="1168364" rtl="0" fontAlgn="base">
        <a:spcBef>
          <a:spcPct val="0"/>
        </a:spcBef>
        <a:spcAft>
          <a:spcPct val="0"/>
        </a:spcAft>
        <a:defRPr sz="3000" b="1">
          <a:solidFill>
            <a:schemeClr val="tx2"/>
          </a:solidFill>
          <a:latin typeface="Arial" charset="0"/>
        </a:defRPr>
      </a:lvl5pPr>
      <a:lvl6pPr marL="524132" algn="l" defTabSz="1168364" rtl="0" eaLnBrk="1" fontAlgn="base" hangingPunct="1">
        <a:lnSpc>
          <a:spcPts val="3911"/>
        </a:lnSpc>
        <a:spcBef>
          <a:spcPct val="0"/>
        </a:spcBef>
        <a:spcAft>
          <a:spcPct val="0"/>
        </a:spcAft>
        <a:defRPr sz="3000" b="1">
          <a:solidFill>
            <a:schemeClr val="tx2"/>
          </a:solidFill>
          <a:latin typeface="Arial" charset="0"/>
        </a:defRPr>
      </a:lvl6pPr>
      <a:lvl7pPr marL="1048254" algn="l" defTabSz="1168364" rtl="0" eaLnBrk="1" fontAlgn="base" hangingPunct="1">
        <a:lnSpc>
          <a:spcPts val="3911"/>
        </a:lnSpc>
        <a:spcBef>
          <a:spcPct val="0"/>
        </a:spcBef>
        <a:spcAft>
          <a:spcPct val="0"/>
        </a:spcAft>
        <a:defRPr sz="3000" b="1">
          <a:solidFill>
            <a:schemeClr val="tx2"/>
          </a:solidFill>
          <a:latin typeface="Arial" charset="0"/>
        </a:defRPr>
      </a:lvl7pPr>
      <a:lvl8pPr marL="1572387" algn="l" defTabSz="1168364" rtl="0" eaLnBrk="1" fontAlgn="base" hangingPunct="1">
        <a:lnSpc>
          <a:spcPts val="3911"/>
        </a:lnSpc>
        <a:spcBef>
          <a:spcPct val="0"/>
        </a:spcBef>
        <a:spcAft>
          <a:spcPct val="0"/>
        </a:spcAft>
        <a:defRPr sz="3000" b="1">
          <a:solidFill>
            <a:schemeClr val="tx2"/>
          </a:solidFill>
          <a:latin typeface="Arial" charset="0"/>
        </a:defRPr>
      </a:lvl8pPr>
      <a:lvl9pPr marL="2096507" algn="l" defTabSz="1168364" rtl="0" eaLnBrk="1" fontAlgn="base" hangingPunct="1">
        <a:lnSpc>
          <a:spcPts val="3911"/>
        </a:lnSpc>
        <a:spcBef>
          <a:spcPct val="0"/>
        </a:spcBef>
        <a:spcAft>
          <a:spcPct val="0"/>
        </a:spcAft>
        <a:defRPr sz="3000" b="1">
          <a:solidFill>
            <a:schemeClr val="tx2"/>
          </a:solidFill>
          <a:latin typeface="Arial" charset="0"/>
        </a:defRPr>
      </a:lvl9pPr>
    </p:titleStyle>
    <p:bodyStyle>
      <a:lvl1pPr algn="l" defTabSz="1168364" rtl="0" fontAlgn="base">
        <a:spcBef>
          <a:spcPct val="0"/>
        </a:spcBef>
        <a:spcAft>
          <a:spcPts val="346"/>
        </a:spcAft>
        <a:buFont typeface="Arial" charset="0"/>
        <a:defRPr sz="2300">
          <a:solidFill>
            <a:schemeClr val="tx2"/>
          </a:solidFill>
          <a:latin typeface="+mn-lt"/>
          <a:ea typeface="+mn-ea"/>
          <a:cs typeface="+mn-cs"/>
        </a:defRPr>
      </a:lvl1pPr>
      <a:lvl2pPr marL="232944" indent="-232944" algn="l" defTabSz="1168364" rtl="0" fontAlgn="base">
        <a:spcBef>
          <a:spcPct val="0"/>
        </a:spcBef>
        <a:spcAft>
          <a:spcPts val="346"/>
        </a:spcAft>
        <a:buFont typeface="Arial" charset="0"/>
        <a:buChar char="•"/>
        <a:defRPr sz="2300">
          <a:solidFill>
            <a:schemeClr val="tx2"/>
          </a:solidFill>
          <a:latin typeface="+mn-lt"/>
        </a:defRPr>
      </a:lvl2pPr>
      <a:lvl3pPr marL="456795" indent="-223848" algn="l" defTabSz="1168364" rtl="0" fontAlgn="base">
        <a:spcBef>
          <a:spcPct val="0"/>
        </a:spcBef>
        <a:spcAft>
          <a:spcPts val="346"/>
        </a:spcAft>
        <a:buFont typeface="Arial" charset="0"/>
        <a:buChar char="‒"/>
        <a:defRPr sz="2300">
          <a:solidFill>
            <a:schemeClr val="tx2"/>
          </a:solidFill>
          <a:latin typeface="+mn-lt"/>
        </a:defRPr>
      </a:lvl3pPr>
      <a:lvl4pPr marL="689732" indent="-232944" algn="l" defTabSz="1168364" rtl="0" fontAlgn="base">
        <a:spcBef>
          <a:spcPct val="0"/>
        </a:spcBef>
        <a:spcAft>
          <a:spcPts val="692"/>
        </a:spcAft>
        <a:buFont typeface="Arial" charset="0"/>
        <a:buChar char="•"/>
        <a:defRPr>
          <a:solidFill>
            <a:schemeClr val="tx2"/>
          </a:solidFill>
          <a:latin typeface="+mn-lt"/>
        </a:defRPr>
      </a:lvl4pPr>
      <a:lvl5pPr marL="909946" indent="-220217" algn="l" defTabSz="1168364" rtl="0" fontAlgn="base">
        <a:spcBef>
          <a:spcPct val="0"/>
        </a:spcBef>
        <a:spcAft>
          <a:spcPts val="692"/>
        </a:spcAft>
        <a:buFont typeface="Arial" charset="0"/>
        <a:buChar char="‒"/>
        <a:defRPr>
          <a:solidFill>
            <a:schemeClr val="tx2"/>
          </a:solidFill>
          <a:latin typeface="+mn-lt"/>
        </a:defRPr>
      </a:lvl5pPr>
      <a:lvl6pPr marL="1434070" indent="-220217" algn="l" defTabSz="1168364" rtl="0" eaLnBrk="1" fontAlgn="base" hangingPunct="1">
        <a:spcBef>
          <a:spcPct val="0"/>
        </a:spcBef>
        <a:spcAft>
          <a:spcPts val="692"/>
        </a:spcAft>
        <a:buFont typeface="Arial" charset="0"/>
        <a:buChar char="‒"/>
        <a:defRPr>
          <a:solidFill>
            <a:schemeClr val="tx2"/>
          </a:solidFill>
          <a:latin typeface="+mn-lt"/>
        </a:defRPr>
      </a:lvl6pPr>
      <a:lvl7pPr marL="1958197" indent="-220217" algn="l" defTabSz="1168364" rtl="0" eaLnBrk="1" fontAlgn="base" hangingPunct="1">
        <a:spcBef>
          <a:spcPct val="0"/>
        </a:spcBef>
        <a:spcAft>
          <a:spcPts val="692"/>
        </a:spcAft>
        <a:buFont typeface="Arial" charset="0"/>
        <a:buChar char="‒"/>
        <a:defRPr>
          <a:solidFill>
            <a:schemeClr val="tx2"/>
          </a:solidFill>
          <a:latin typeface="+mn-lt"/>
        </a:defRPr>
      </a:lvl7pPr>
      <a:lvl8pPr marL="2482316" indent="-220217" algn="l" defTabSz="1168364" rtl="0" eaLnBrk="1" fontAlgn="base" hangingPunct="1">
        <a:spcBef>
          <a:spcPct val="0"/>
        </a:spcBef>
        <a:spcAft>
          <a:spcPts val="692"/>
        </a:spcAft>
        <a:buFont typeface="Arial" charset="0"/>
        <a:buChar char="‒"/>
        <a:defRPr>
          <a:solidFill>
            <a:schemeClr val="tx2"/>
          </a:solidFill>
          <a:latin typeface="+mn-lt"/>
        </a:defRPr>
      </a:lvl8pPr>
      <a:lvl9pPr marL="3006446" indent="-220217" algn="l" defTabSz="1168364" rtl="0" eaLnBrk="1" fontAlgn="base" hangingPunct="1">
        <a:spcBef>
          <a:spcPct val="0"/>
        </a:spcBef>
        <a:spcAft>
          <a:spcPts val="692"/>
        </a:spcAft>
        <a:buFont typeface="Arial" charset="0"/>
        <a:buChar char="‒"/>
        <a:defRPr>
          <a:solidFill>
            <a:schemeClr val="tx2"/>
          </a:solidFill>
          <a:latin typeface="+mn-lt"/>
        </a:defRPr>
      </a:lvl9pPr>
    </p:bodyStyle>
    <p:otherStyle>
      <a:defPPr>
        <a:defRPr lang="en-US"/>
      </a:defPPr>
      <a:lvl1pPr marL="0" algn="l" defTabSz="1048254" rtl="0" eaLnBrk="1" latinLnBrk="0" hangingPunct="1">
        <a:defRPr sz="2100" kern="1200">
          <a:solidFill>
            <a:schemeClr val="tx1"/>
          </a:solidFill>
          <a:latin typeface="+mn-lt"/>
          <a:ea typeface="+mn-ea"/>
          <a:cs typeface="+mn-cs"/>
        </a:defRPr>
      </a:lvl1pPr>
      <a:lvl2pPr marL="524132" algn="l" defTabSz="1048254" rtl="0" eaLnBrk="1" latinLnBrk="0" hangingPunct="1">
        <a:defRPr sz="2100" kern="1200">
          <a:solidFill>
            <a:schemeClr val="tx1"/>
          </a:solidFill>
          <a:latin typeface="+mn-lt"/>
          <a:ea typeface="+mn-ea"/>
          <a:cs typeface="+mn-cs"/>
        </a:defRPr>
      </a:lvl2pPr>
      <a:lvl3pPr marL="1048254" algn="l" defTabSz="1048254" rtl="0" eaLnBrk="1" latinLnBrk="0" hangingPunct="1">
        <a:defRPr sz="2100" kern="1200">
          <a:solidFill>
            <a:schemeClr val="tx1"/>
          </a:solidFill>
          <a:latin typeface="+mn-lt"/>
          <a:ea typeface="+mn-ea"/>
          <a:cs typeface="+mn-cs"/>
        </a:defRPr>
      </a:lvl3pPr>
      <a:lvl4pPr marL="1572387" algn="l" defTabSz="1048254" rtl="0" eaLnBrk="1" latinLnBrk="0" hangingPunct="1">
        <a:defRPr sz="2100" kern="1200">
          <a:solidFill>
            <a:schemeClr val="tx1"/>
          </a:solidFill>
          <a:latin typeface="+mn-lt"/>
          <a:ea typeface="+mn-ea"/>
          <a:cs typeface="+mn-cs"/>
        </a:defRPr>
      </a:lvl4pPr>
      <a:lvl5pPr marL="2096507" algn="l" defTabSz="1048254" rtl="0" eaLnBrk="1" latinLnBrk="0" hangingPunct="1">
        <a:defRPr sz="2100" kern="1200">
          <a:solidFill>
            <a:schemeClr val="tx1"/>
          </a:solidFill>
          <a:latin typeface="+mn-lt"/>
          <a:ea typeface="+mn-ea"/>
          <a:cs typeface="+mn-cs"/>
        </a:defRPr>
      </a:lvl5pPr>
      <a:lvl6pPr marL="2620629" algn="l" defTabSz="1048254" rtl="0" eaLnBrk="1" latinLnBrk="0" hangingPunct="1">
        <a:defRPr sz="2100" kern="1200">
          <a:solidFill>
            <a:schemeClr val="tx1"/>
          </a:solidFill>
          <a:latin typeface="+mn-lt"/>
          <a:ea typeface="+mn-ea"/>
          <a:cs typeface="+mn-cs"/>
        </a:defRPr>
      </a:lvl6pPr>
      <a:lvl7pPr marL="3144755" algn="l" defTabSz="1048254" rtl="0" eaLnBrk="1" latinLnBrk="0" hangingPunct="1">
        <a:defRPr sz="2100" kern="1200">
          <a:solidFill>
            <a:schemeClr val="tx1"/>
          </a:solidFill>
          <a:latin typeface="+mn-lt"/>
          <a:ea typeface="+mn-ea"/>
          <a:cs typeface="+mn-cs"/>
        </a:defRPr>
      </a:lvl7pPr>
      <a:lvl8pPr marL="3668884" algn="l" defTabSz="1048254" rtl="0" eaLnBrk="1" latinLnBrk="0" hangingPunct="1">
        <a:defRPr sz="2100" kern="1200">
          <a:solidFill>
            <a:schemeClr val="tx1"/>
          </a:solidFill>
          <a:latin typeface="+mn-lt"/>
          <a:ea typeface="+mn-ea"/>
          <a:cs typeface="+mn-cs"/>
        </a:defRPr>
      </a:lvl8pPr>
      <a:lvl9pPr marL="4193005" algn="l" defTabSz="1048254" rtl="0" eaLnBrk="1" latinLnBrk="0" hangingPunct="1">
        <a:defRPr sz="21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 name="Slide Number Placeholder 9"/>
          <p:cNvSpPr>
            <a:spLocks/>
          </p:cNvSpPr>
          <p:nvPr/>
        </p:nvSpPr>
        <p:spPr bwMode="gray">
          <a:xfrm>
            <a:off x="326553" y="7481327"/>
            <a:ext cx="375602" cy="184666"/>
          </a:xfrm>
          <a:prstGeom prst="rect">
            <a:avLst/>
          </a:prstGeom>
          <a:noFill/>
          <a:ln w="9525">
            <a:noFill/>
            <a:miter lim="800000"/>
            <a:headEnd/>
            <a:tailEnd/>
          </a:ln>
        </p:spPr>
        <p:txBody>
          <a:bodyPr lIns="0" tIns="0" rIns="0" bIns="0" anchor="b">
            <a:spAutoFit/>
          </a:bodyPr>
          <a:lstStyle/>
          <a:p>
            <a:pPr algn="l">
              <a:spcBef>
                <a:spcPct val="0"/>
              </a:spcBef>
            </a:pPr>
            <a:fld id="{86C77FDF-45C5-4665-AAEE-45520AE6BEA9}" type="slidenum">
              <a:rPr lang="en-US">
                <a:solidFill>
                  <a:srgbClr val="002776"/>
                </a:solidFill>
              </a:rPr>
              <a:pPr algn="l">
                <a:spcBef>
                  <a:spcPct val="0"/>
                </a:spcBef>
              </a:pPr>
              <a:t>‹#›</a:t>
            </a:fld>
            <a:endParaRPr lang="en-US" dirty="0">
              <a:solidFill>
                <a:srgbClr val="002776"/>
              </a:solidFill>
            </a:endParaRPr>
          </a:p>
        </p:txBody>
      </p:sp>
      <p:sp>
        <p:nvSpPr>
          <p:cNvPr id="11" name="Title Placeholder 10"/>
          <p:cNvSpPr>
            <a:spLocks noGrp="1"/>
          </p:cNvSpPr>
          <p:nvPr>
            <p:ph type="title"/>
          </p:nvPr>
        </p:nvSpPr>
        <p:spPr bwMode="gray">
          <a:xfrm>
            <a:off x="580073" y="454043"/>
            <a:ext cx="11662258" cy="429348"/>
          </a:xfrm>
          <a:prstGeom prst="rect">
            <a:avLst/>
          </a:prstGeom>
        </p:spPr>
        <p:txBody>
          <a:bodyPr lIns="0" tIns="0" rIns="0" bIns="0" anchor="b" anchorCtr="0">
            <a:spAutoFit/>
          </a:bodyPr>
          <a:lstStyle/>
          <a:p>
            <a:pPr marL="0" marR="0" lvl="0" indent="0" algn="l" defTabSz="1175513"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16" name="Text Placeholder 15"/>
          <p:cNvSpPr>
            <a:spLocks noGrp="1"/>
          </p:cNvSpPr>
          <p:nvPr>
            <p:ph type="body" idx="1"/>
          </p:nvPr>
        </p:nvSpPr>
        <p:spPr bwMode="gray">
          <a:xfrm>
            <a:off x="576072" y="1586867"/>
            <a:ext cx="11662258" cy="1502976"/>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8581375"/>
      </p:ext>
    </p:extLst>
  </p:cSld>
  <p:clrMap bg1="lt1" tx1="dk1" bg2="lt2" tx2="dk2" accent1="accent1" accent2="accent2" accent3="accent3" accent4="accent4" accent5="accent5" accent6="accent6" hlink="hlink" folHlink="folHlink"/>
  <p:sldLayoutIdLst>
    <p:sldLayoutId id="2147484327" r:id="rId1"/>
    <p:sldLayoutId id="2147484328" r:id="rId2"/>
    <p:sldLayoutId id="2147484329" r:id="rId3"/>
    <p:sldLayoutId id="2147484330" r:id="rId4"/>
    <p:sldLayoutId id="2147484331" r:id="rId5"/>
    <p:sldLayoutId id="2147484332" r:id="rId6"/>
    <p:sldLayoutId id="2147484333" r:id="rId7"/>
    <p:sldLayoutId id="2147484334" r:id="rId8"/>
    <p:sldLayoutId id="2147484335" r:id="rId9"/>
    <p:sldLayoutId id="2147484336" r:id="rId10"/>
    <p:sldLayoutId id="2147484337" r:id="rId11"/>
    <p:sldLayoutId id="2147484338" r:id="rId12"/>
    <p:sldLayoutId id="2147484339" r:id="rId13"/>
    <p:sldLayoutId id="2147484340" r:id="rId14"/>
    <p:sldLayoutId id="2147484341" r:id="rId15"/>
    <p:sldLayoutId id="2147484342" r:id="rId16"/>
    <p:sldLayoutId id="2147484343" r:id="rId17"/>
    <p:sldLayoutId id="2147484344" r:id="rId18"/>
    <p:sldLayoutId id="2147484345" r:id="rId19"/>
    <p:sldLayoutId id="2147484346" r:id="rId20"/>
    <p:sldLayoutId id="2147484347" r:id="rId21"/>
    <p:sldLayoutId id="2147484348" r:id="rId22"/>
    <p:sldLayoutId id="2147484349" r:id="rId23"/>
    <p:sldLayoutId id="2147484350" r:id="rId24"/>
    <p:sldLayoutId id="2147484351" r:id="rId25"/>
    <p:sldLayoutId id="2147484352" r:id="rId26"/>
    <p:sldLayoutId id="2147484353" r:id="rId27"/>
    <p:sldLayoutId id="2147484354" r:id="rId28"/>
    <p:sldLayoutId id="2147484355" r:id="rId29"/>
    <p:sldLayoutId id="2147484356" r:id="rId30"/>
    <p:sldLayoutId id="2147484357" r:id="rId31"/>
    <p:sldLayoutId id="2147484358" r:id="rId32"/>
    <p:sldLayoutId id="2147484359" r:id="rId33"/>
    <p:sldLayoutId id="2147484360" r:id="rId34"/>
    <p:sldLayoutId id="2147484361" r:id="rId35"/>
    <p:sldLayoutId id="2147484362" r:id="rId36"/>
    <p:sldLayoutId id="2147484363" r:id="rId37"/>
    <p:sldLayoutId id="2147484364" r:id="rId38"/>
    <p:sldLayoutId id="2147484365" r:id="rId39"/>
    <p:sldLayoutId id="2147484366" r:id="rId40"/>
    <p:sldLayoutId id="2147484367" r:id="rId41"/>
    <p:sldLayoutId id="2147484369" r:id="rId42"/>
    <p:sldLayoutId id="2147484370" r:id="rId43"/>
    <p:sldLayoutId id="2147484448" r:id="rId44"/>
    <p:sldLayoutId id="2147484449" r:id="rId45"/>
    <p:sldLayoutId id="2147484452" r:id="rId46"/>
    <p:sldLayoutId id="2147484453" r:id="rId47"/>
    <p:sldLayoutId id="2147484454" r:id="rId48"/>
  </p:sldLayoutIdLst>
  <p:timing>
    <p:tnLst>
      <p:par>
        <p:cTn id="1" dur="indefinite" restart="never" nodeType="tmRoot"/>
      </p:par>
    </p:tnLst>
  </p:timing>
  <p:hf hdr="0" dt="0"/>
  <p:txStyles>
    <p:titleStyle>
      <a:lvl1pPr algn="l" rtl="0" eaLnBrk="1" fontAlgn="base" hangingPunct="1">
        <a:lnSpc>
          <a:spcPts val="3343"/>
        </a:lnSpc>
        <a:spcBef>
          <a:spcPct val="0"/>
        </a:spcBef>
        <a:spcAft>
          <a:spcPct val="0"/>
        </a:spcAft>
        <a:defRPr kumimoji="0" lang="en-US" sz="3100" b="1" i="0" u="none" strike="noStrike" kern="1200" cap="none" spc="0" normalizeH="0" baseline="0" noProof="0" dirty="0" smtClean="0">
          <a:ln>
            <a:noFill/>
          </a:ln>
          <a:solidFill>
            <a:schemeClr val="tx2"/>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587756" algn="l" rtl="0" eaLnBrk="1" fontAlgn="base" hangingPunct="1">
        <a:spcBef>
          <a:spcPct val="0"/>
        </a:spcBef>
        <a:spcAft>
          <a:spcPct val="0"/>
        </a:spcAft>
        <a:defRPr sz="3100" b="1">
          <a:solidFill>
            <a:schemeClr val="accent1"/>
          </a:solidFill>
          <a:latin typeface="Arial" charset="0"/>
        </a:defRPr>
      </a:lvl6pPr>
      <a:lvl7pPr marL="1175513" algn="l" rtl="0" eaLnBrk="1" fontAlgn="base" hangingPunct="1">
        <a:spcBef>
          <a:spcPct val="0"/>
        </a:spcBef>
        <a:spcAft>
          <a:spcPct val="0"/>
        </a:spcAft>
        <a:defRPr sz="3100" b="1">
          <a:solidFill>
            <a:schemeClr val="accent1"/>
          </a:solidFill>
          <a:latin typeface="Arial" charset="0"/>
        </a:defRPr>
      </a:lvl7pPr>
      <a:lvl8pPr marL="1763271" algn="l" rtl="0" eaLnBrk="1" fontAlgn="base" hangingPunct="1">
        <a:spcBef>
          <a:spcPct val="0"/>
        </a:spcBef>
        <a:spcAft>
          <a:spcPct val="0"/>
        </a:spcAft>
        <a:defRPr sz="3100" b="1">
          <a:solidFill>
            <a:schemeClr val="accent1"/>
          </a:solidFill>
          <a:latin typeface="Arial" charset="0"/>
        </a:defRPr>
      </a:lvl8pPr>
      <a:lvl9pPr marL="2351027" algn="l" rtl="0" eaLnBrk="1" fontAlgn="base" hangingPunct="1">
        <a:spcBef>
          <a:spcPct val="0"/>
        </a:spcBef>
        <a:spcAft>
          <a:spcPct val="0"/>
        </a:spcAft>
        <a:defRPr sz="3100" b="1">
          <a:solidFill>
            <a:schemeClr val="accent1"/>
          </a:solidFill>
          <a:latin typeface="Arial" charset="0"/>
        </a:defRPr>
      </a:lvl9pPr>
    </p:titleStyle>
    <p:bodyStyle>
      <a:lvl1pPr marR="0" indent="0" algn="l" defTabSz="1175513" rtl="0" eaLnBrk="1" fontAlgn="base" latinLnBrk="0" hangingPunct="1">
        <a:lnSpc>
          <a:spcPct val="100000"/>
        </a:lnSpc>
        <a:spcBef>
          <a:spcPts val="2829"/>
        </a:spcBef>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224490" marR="0" indent="-224490" algn="l" defTabSz="1175513" rtl="0" eaLnBrk="1" fontAlgn="base" latinLnBrk="0" hangingPunct="1">
        <a:lnSpc>
          <a:spcPct val="100000"/>
        </a:lnSpc>
        <a:spcBef>
          <a:spcPts val="514"/>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L="438777" indent="-220409" algn="l" rtl="0" eaLnBrk="1" fontAlgn="base" hangingPunct="1">
        <a:lnSpc>
          <a:spcPct val="100000"/>
        </a:lnSpc>
        <a:spcBef>
          <a:spcPts val="514"/>
        </a:spcBef>
        <a:spcAft>
          <a:spcPct val="0"/>
        </a:spcAft>
        <a:buFont typeface="Arial" pitchFamily="34" charset="0"/>
        <a:buChar char="–"/>
        <a:defRPr lang="en-US" sz="1500" kern="1200" dirty="0" smtClean="0">
          <a:solidFill>
            <a:schemeClr val="tx2"/>
          </a:solidFill>
          <a:latin typeface="+mn-lt"/>
          <a:ea typeface="+mn-ea"/>
          <a:cs typeface="+mn-cs"/>
        </a:defRPr>
      </a:lvl3pPr>
      <a:lvl4pPr marL="663267" marR="0" indent="-224490" algn="l" defTabSz="1175513" rtl="0" eaLnBrk="1" fontAlgn="base" latinLnBrk="0" hangingPunct="1">
        <a:lnSpc>
          <a:spcPct val="100000"/>
        </a:lnSpc>
        <a:spcBef>
          <a:spcPts val="514"/>
        </a:spcBef>
        <a:spcAft>
          <a:spcPct val="0"/>
        </a:spcAft>
        <a:buFont typeface="Arial" pitchFamily="34" charset="0"/>
        <a:buChar char="•"/>
        <a:tabLst/>
        <a:defRPr kumimoji="0" lang="en-US" sz="1500" b="0" i="0" u="none" strike="noStrike" kern="1200" cap="none" normalizeH="0" baseline="0" dirty="0" smtClean="0">
          <a:ln>
            <a:noFill/>
          </a:ln>
          <a:solidFill>
            <a:schemeClr val="tx2"/>
          </a:solidFill>
          <a:effectLst/>
          <a:latin typeface="Arial" pitchFamily="34" charset="0"/>
          <a:ea typeface="+mn-ea"/>
          <a:cs typeface="Arial" pitchFamily="34" charset="0"/>
        </a:defRPr>
      </a:lvl4pPr>
      <a:lvl5pPr marL="885716" marR="0" indent="-222451" algn="l" defTabSz="1175513" rtl="0" eaLnBrk="1" fontAlgn="base" latinLnBrk="0" hangingPunct="1">
        <a:lnSpc>
          <a:spcPct val="100000"/>
        </a:lnSpc>
        <a:spcBef>
          <a:spcPts val="514"/>
        </a:spcBef>
        <a:spcAft>
          <a:spcPct val="0"/>
        </a:spcAft>
        <a:buFont typeface="Arial" pitchFamily="34" charset="0"/>
        <a:buChar char="–"/>
        <a:tabLst/>
        <a:defRPr kumimoji="0" lang="en-US" sz="1500" b="0" i="0" u="none" strike="noStrike" kern="1200" cap="none" normalizeH="0" baseline="0" dirty="0" smtClean="0">
          <a:ln>
            <a:noFill/>
          </a:ln>
          <a:solidFill>
            <a:schemeClr val="tx2"/>
          </a:solidFill>
          <a:effectLst/>
          <a:latin typeface="Arial" pitchFamily="34" charset="0"/>
          <a:ea typeface="+mn-ea"/>
          <a:cs typeface="Arial" pitchFamily="34" charset="0"/>
        </a:defRPr>
      </a:lvl5pPr>
      <a:lvl6pPr marL="857145" marR="0" indent="-214288" algn="l" defTabSz="1175513" rtl="0" eaLnBrk="1" fontAlgn="base" latinLnBrk="0" hangingPunct="1">
        <a:lnSpc>
          <a:spcPct val="100000"/>
        </a:lnSpc>
        <a:spcBef>
          <a:spcPts val="514"/>
        </a:spcBef>
        <a:spcAft>
          <a:spcPct val="0"/>
        </a:spcAft>
        <a:buFont typeface="Arial" pitchFamily="34" charset="0"/>
        <a:buChar char="–"/>
        <a:tabLst/>
        <a:defRPr kumimoji="0" lang="en-US" sz="13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387759" indent="-236736" algn="l" defTabSz="1175513" rtl="0" eaLnBrk="1" latinLnBrk="0" hangingPunct="1">
        <a:spcBef>
          <a:spcPts val="0"/>
        </a:spcBef>
        <a:spcAft>
          <a:spcPts val="386"/>
        </a:spcAft>
        <a:buFont typeface="Arial" pitchFamily="34" charset="0"/>
        <a:buChar char="‒"/>
        <a:defRPr sz="1800" kern="1200">
          <a:solidFill>
            <a:schemeClr val="accent1"/>
          </a:solidFill>
          <a:latin typeface="+mn-lt"/>
          <a:ea typeface="+mn-ea"/>
          <a:cs typeface="+mn-cs"/>
        </a:defRPr>
      </a:lvl7pPr>
      <a:lvl8pPr marL="1610209" indent="-222451" algn="l" defTabSz="1175513" rtl="0" eaLnBrk="1" latinLnBrk="0" hangingPunct="1">
        <a:spcBef>
          <a:spcPts val="0"/>
        </a:spcBef>
        <a:spcAft>
          <a:spcPts val="386"/>
        </a:spcAft>
        <a:buFont typeface="Arial" pitchFamily="34" charset="0"/>
        <a:buChar char="•"/>
        <a:defRPr sz="1800" kern="1200">
          <a:solidFill>
            <a:schemeClr val="accent1"/>
          </a:solidFill>
          <a:latin typeface="+mn-lt"/>
          <a:ea typeface="+mn-ea"/>
          <a:cs typeface="+mn-cs"/>
        </a:defRPr>
      </a:lvl8pPr>
      <a:lvl9pPr marL="1844902" indent="-234696" algn="l" defTabSz="1175513" rtl="0" eaLnBrk="1" latinLnBrk="0" hangingPunct="1">
        <a:spcBef>
          <a:spcPts val="0"/>
        </a:spcBef>
        <a:spcAft>
          <a:spcPts val="386"/>
        </a:spcAft>
        <a:buFont typeface="Arial" pitchFamily="34" charset="0"/>
        <a:buChar char="‒"/>
        <a:defRPr sz="1800" kern="1200">
          <a:solidFill>
            <a:schemeClr val="accent1"/>
          </a:solidFill>
          <a:latin typeface="+mn-lt"/>
          <a:ea typeface="+mn-ea"/>
          <a:cs typeface="+mn-cs"/>
        </a:defRPr>
      </a:lvl9pPr>
    </p:bodyStyle>
    <p:otherStyle>
      <a:defPPr>
        <a:defRPr lang="en-US"/>
      </a:defPPr>
      <a:lvl1pPr marL="0" algn="l" defTabSz="1175513" rtl="0" eaLnBrk="1" latinLnBrk="0" hangingPunct="1">
        <a:defRPr sz="2300" kern="1200">
          <a:solidFill>
            <a:schemeClr val="tx1"/>
          </a:solidFill>
          <a:latin typeface="+mn-lt"/>
          <a:ea typeface="+mn-ea"/>
          <a:cs typeface="+mn-cs"/>
        </a:defRPr>
      </a:lvl1pPr>
      <a:lvl2pPr marL="587756" algn="l" defTabSz="1175513" rtl="0" eaLnBrk="1" latinLnBrk="0" hangingPunct="1">
        <a:defRPr sz="2300" kern="1200">
          <a:solidFill>
            <a:schemeClr val="tx1"/>
          </a:solidFill>
          <a:latin typeface="+mn-lt"/>
          <a:ea typeface="+mn-ea"/>
          <a:cs typeface="+mn-cs"/>
        </a:defRPr>
      </a:lvl2pPr>
      <a:lvl3pPr marL="1175513" algn="l" defTabSz="1175513" rtl="0" eaLnBrk="1" latinLnBrk="0" hangingPunct="1">
        <a:defRPr sz="2300" kern="1200">
          <a:solidFill>
            <a:schemeClr val="tx1"/>
          </a:solidFill>
          <a:latin typeface="+mn-lt"/>
          <a:ea typeface="+mn-ea"/>
          <a:cs typeface="+mn-cs"/>
        </a:defRPr>
      </a:lvl3pPr>
      <a:lvl4pPr marL="1763271" algn="l" defTabSz="1175513" rtl="0" eaLnBrk="1" latinLnBrk="0" hangingPunct="1">
        <a:defRPr sz="2300" kern="1200">
          <a:solidFill>
            <a:schemeClr val="tx1"/>
          </a:solidFill>
          <a:latin typeface="+mn-lt"/>
          <a:ea typeface="+mn-ea"/>
          <a:cs typeface="+mn-cs"/>
        </a:defRPr>
      </a:lvl4pPr>
      <a:lvl5pPr marL="2351027" algn="l" defTabSz="1175513" rtl="0" eaLnBrk="1" latinLnBrk="0" hangingPunct="1">
        <a:defRPr sz="2300" kern="1200">
          <a:solidFill>
            <a:schemeClr val="tx1"/>
          </a:solidFill>
          <a:latin typeface="+mn-lt"/>
          <a:ea typeface="+mn-ea"/>
          <a:cs typeface="+mn-cs"/>
        </a:defRPr>
      </a:lvl5pPr>
      <a:lvl6pPr marL="2938784" algn="l" defTabSz="1175513" rtl="0" eaLnBrk="1" latinLnBrk="0" hangingPunct="1">
        <a:defRPr sz="2300" kern="1200">
          <a:solidFill>
            <a:schemeClr val="tx1"/>
          </a:solidFill>
          <a:latin typeface="+mn-lt"/>
          <a:ea typeface="+mn-ea"/>
          <a:cs typeface="+mn-cs"/>
        </a:defRPr>
      </a:lvl6pPr>
      <a:lvl7pPr marL="3526540" algn="l" defTabSz="1175513" rtl="0" eaLnBrk="1" latinLnBrk="0" hangingPunct="1">
        <a:defRPr sz="2300" kern="1200">
          <a:solidFill>
            <a:schemeClr val="tx1"/>
          </a:solidFill>
          <a:latin typeface="+mn-lt"/>
          <a:ea typeface="+mn-ea"/>
          <a:cs typeface="+mn-cs"/>
        </a:defRPr>
      </a:lvl7pPr>
      <a:lvl8pPr marL="4114297" algn="l" defTabSz="1175513" rtl="0" eaLnBrk="1" latinLnBrk="0" hangingPunct="1">
        <a:defRPr sz="2300" kern="1200">
          <a:solidFill>
            <a:schemeClr val="tx1"/>
          </a:solidFill>
          <a:latin typeface="+mn-lt"/>
          <a:ea typeface="+mn-ea"/>
          <a:cs typeface="+mn-cs"/>
        </a:defRPr>
      </a:lvl8pPr>
      <a:lvl9pPr marL="4702053" algn="l" defTabSz="1175513" rtl="0" eaLnBrk="1" latinLnBrk="0" hangingPunct="1">
        <a:defRPr sz="23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15621" y="406612"/>
            <a:ext cx="11748135" cy="7016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GB" dirty="0" smtClean="0"/>
              <a:t>Click to edit Master title style</a:t>
            </a:r>
            <a:endParaRPr lang="en-GB" altLang="en-GB" dirty="0" smtClean="0"/>
          </a:p>
        </p:txBody>
      </p:sp>
      <p:sp>
        <p:nvSpPr>
          <p:cNvPr id="1027" name="Rectangle 3"/>
          <p:cNvSpPr>
            <a:spLocks noGrp="1" noChangeArrowheads="1"/>
          </p:cNvSpPr>
          <p:nvPr>
            <p:ph type="body" idx="1"/>
          </p:nvPr>
        </p:nvSpPr>
        <p:spPr bwMode="auto">
          <a:xfrm>
            <a:off x="515620" y="1482514"/>
            <a:ext cx="11752580" cy="567637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ltLang="en-GB" dirty="0" smtClean="0"/>
              <a:t>Click to edit Master text styles</a:t>
            </a:r>
          </a:p>
          <a:p>
            <a:pPr lvl="1"/>
            <a:r>
              <a:rPr lang="en-GB" altLang="en-GB" dirty="0" smtClean="0"/>
              <a:t>Second level</a:t>
            </a:r>
          </a:p>
          <a:p>
            <a:pPr lvl="2"/>
            <a:r>
              <a:rPr lang="en-GB" altLang="en-GB" dirty="0" smtClean="0"/>
              <a:t>Third level</a:t>
            </a:r>
          </a:p>
          <a:p>
            <a:pPr lvl="3"/>
            <a:r>
              <a:rPr lang="en-GB" altLang="en-GB" dirty="0" smtClean="0"/>
              <a:t>Fourth level</a:t>
            </a:r>
          </a:p>
        </p:txBody>
      </p:sp>
      <p:sp>
        <p:nvSpPr>
          <p:cNvPr id="6" name="Slide Number Placeholder 5"/>
          <p:cNvSpPr>
            <a:spLocks noGrp="1"/>
          </p:cNvSpPr>
          <p:nvPr>
            <p:ph type="sldNum" sz="quarter" idx="4"/>
          </p:nvPr>
        </p:nvSpPr>
        <p:spPr>
          <a:xfrm>
            <a:off x="11701500" y="7367613"/>
            <a:ext cx="517842" cy="284268"/>
          </a:xfrm>
          <a:prstGeom prst="rect">
            <a:avLst/>
          </a:prstGeom>
        </p:spPr>
        <p:txBody>
          <a:bodyPr vert="horz" lIns="117564" tIns="58782" rIns="117564" bIns="58782" rtlCol="0" anchor="ctr"/>
          <a:lstStyle>
            <a:lvl1pPr algn="r">
              <a:defRPr sz="1500">
                <a:solidFill>
                  <a:schemeClr val="tx1"/>
                </a:solidFill>
              </a:defRPr>
            </a:lvl1pPr>
          </a:lstStyle>
          <a:p>
            <a:pPr defTabSz="1175644" fontAlgn="auto">
              <a:spcBef>
                <a:spcPts val="0"/>
              </a:spcBef>
              <a:spcAft>
                <a:spcPts val="0"/>
              </a:spcAft>
            </a:pPr>
            <a:fld id="{6304B3BE-F3A1-4058-91D7-01643B445FFE}" type="slidenum">
              <a:rPr lang="en-AU" b="0" smtClean="0">
                <a:solidFill>
                  <a:prstClr val="black"/>
                </a:solidFill>
                <a:latin typeface="Arial"/>
                <a:cs typeface="+mn-cs"/>
              </a:rPr>
              <a:pPr defTabSz="1175644" fontAlgn="auto">
                <a:spcBef>
                  <a:spcPts val="0"/>
                </a:spcBef>
                <a:spcAft>
                  <a:spcPts val="0"/>
                </a:spcAft>
              </a:pPr>
              <a:t>‹#›</a:t>
            </a:fld>
            <a:endParaRPr lang="en-AU" b="0" dirty="0">
              <a:solidFill>
                <a:prstClr val="black"/>
              </a:solidFill>
              <a:latin typeface="Arial"/>
              <a:cs typeface="+mn-cs"/>
            </a:endParaRPr>
          </a:p>
        </p:txBody>
      </p:sp>
    </p:spTree>
    <p:extLst>
      <p:ext uri="{BB962C8B-B14F-4D97-AF65-F5344CB8AC3E}">
        <p14:creationId xmlns:p14="http://schemas.microsoft.com/office/powerpoint/2010/main" val="719079739"/>
      </p:ext>
    </p:extLst>
  </p:cSld>
  <p:clrMap bg1="lt1" tx1="dk1" bg2="lt2" tx2="dk2" accent1="accent1" accent2="accent2" accent3="accent3" accent4="accent4" accent5="accent5" accent6="accent6" hlink="hlink" folHlink="folHlink"/>
  <p:sldLayoutIdLst>
    <p:sldLayoutId id="2147484398" r:id="rId1"/>
    <p:sldLayoutId id="2147484399" r:id="rId2"/>
    <p:sldLayoutId id="2147484400" r:id="rId3"/>
    <p:sldLayoutId id="2147484401" r:id="rId4"/>
    <p:sldLayoutId id="2147484402" r:id="rId5"/>
    <p:sldLayoutId id="2147484403" r:id="rId6"/>
    <p:sldLayoutId id="2147484404" r:id="rId7"/>
    <p:sldLayoutId id="2147484405" r:id="rId8"/>
    <p:sldLayoutId id="2147484406" r:id="rId9"/>
    <p:sldLayoutId id="2147484407" r:id="rId10"/>
  </p:sldLayoutIdLst>
  <p:timing>
    <p:tnLst>
      <p:par>
        <p:cTn id="1" dur="indefinite" restart="never" nodeType="tmRoot"/>
      </p:par>
    </p:tnLst>
  </p:timing>
  <p:hf hdr="0" ftr="0" dt="0"/>
  <p:txStyles>
    <p:titleStyle>
      <a:lvl1pPr algn="l" rtl="0" eaLnBrk="1" fontAlgn="base" hangingPunct="1">
        <a:lnSpc>
          <a:spcPts val="3086"/>
        </a:lnSpc>
        <a:spcBef>
          <a:spcPct val="0"/>
        </a:spcBef>
        <a:spcAft>
          <a:spcPct val="0"/>
        </a:spcAft>
        <a:defRPr sz="2800">
          <a:solidFill>
            <a:schemeClr val="tx2"/>
          </a:solidFill>
          <a:latin typeface="+mj-lt"/>
          <a:ea typeface="+mj-ea"/>
          <a:cs typeface="+mj-cs"/>
        </a:defRPr>
      </a:lvl1pPr>
      <a:lvl2pPr algn="l" rtl="0" eaLnBrk="1" fontAlgn="base" hangingPunct="1">
        <a:lnSpc>
          <a:spcPts val="3086"/>
        </a:lnSpc>
        <a:spcBef>
          <a:spcPct val="0"/>
        </a:spcBef>
        <a:spcAft>
          <a:spcPct val="0"/>
        </a:spcAft>
        <a:defRPr sz="2800">
          <a:solidFill>
            <a:schemeClr val="tx1"/>
          </a:solidFill>
          <a:latin typeface="Arial" charset="0"/>
        </a:defRPr>
      </a:lvl2pPr>
      <a:lvl3pPr algn="l" rtl="0" eaLnBrk="1" fontAlgn="base" hangingPunct="1">
        <a:lnSpc>
          <a:spcPts val="3086"/>
        </a:lnSpc>
        <a:spcBef>
          <a:spcPct val="0"/>
        </a:spcBef>
        <a:spcAft>
          <a:spcPct val="0"/>
        </a:spcAft>
        <a:defRPr sz="2800">
          <a:solidFill>
            <a:schemeClr val="tx1"/>
          </a:solidFill>
          <a:latin typeface="Arial" charset="0"/>
        </a:defRPr>
      </a:lvl3pPr>
      <a:lvl4pPr algn="l" rtl="0" eaLnBrk="1" fontAlgn="base" hangingPunct="1">
        <a:lnSpc>
          <a:spcPts val="3086"/>
        </a:lnSpc>
        <a:spcBef>
          <a:spcPct val="0"/>
        </a:spcBef>
        <a:spcAft>
          <a:spcPct val="0"/>
        </a:spcAft>
        <a:defRPr sz="2800">
          <a:solidFill>
            <a:schemeClr val="tx1"/>
          </a:solidFill>
          <a:latin typeface="Arial" charset="0"/>
        </a:defRPr>
      </a:lvl4pPr>
      <a:lvl5pPr algn="l" rtl="0" eaLnBrk="1" fontAlgn="base" hangingPunct="1">
        <a:lnSpc>
          <a:spcPts val="3086"/>
        </a:lnSpc>
        <a:spcBef>
          <a:spcPct val="0"/>
        </a:spcBef>
        <a:spcAft>
          <a:spcPct val="0"/>
        </a:spcAft>
        <a:defRPr sz="2800">
          <a:solidFill>
            <a:schemeClr val="tx1"/>
          </a:solidFill>
          <a:latin typeface="Arial" charset="0"/>
        </a:defRPr>
      </a:lvl5pPr>
      <a:lvl6pPr marL="587822" algn="l" rtl="0" eaLnBrk="1" fontAlgn="base" hangingPunct="1">
        <a:lnSpc>
          <a:spcPts val="3086"/>
        </a:lnSpc>
        <a:spcBef>
          <a:spcPct val="0"/>
        </a:spcBef>
        <a:spcAft>
          <a:spcPct val="0"/>
        </a:spcAft>
        <a:defRPr sz="2800">
          <a:solidFill>
            <a:schemeClr val="tx1"/>
          </a:solidFill>
          <a:latin typeface="Arial" charset="0"/>
        </a:defRPr>
      </a:lvl6pPr>
      <a:lvl7pPr marL="1175644" algn="l" rtl="0" eaLnBrk="1" fontAlgn="base" hangingPunct="1">
        <a:lnSpc>
          <a:spcPts val="3086"/>
        </a:lnSpc>
        <a:spcBef>
          <a:spcPct val="0"/>
        </a:spcBef>
        <a:spcAft>
          <a:spcPct val="0"/>
        </a:spcAft>
        <a:defRPr sz="2800">
          <a:solidFill>
            <a:schemeClr val="tx1"/>
          </a:solidFill>
          <a:latin typeface="Arial" charset="0"/>
        </a:defRPr>
      </a:lvl7pPr>
      <a:lvl8pPr marL="1763466" algn="l" rtl="0" eaLnBrk="1" fontAlgn="base" hangingPunct="1">
        <a:lnSpc>
          <a:spcPts val="3086"/>
        </a:lnSpc>
        <a:spcBef>
          <a:spcPct val="0"/>
        </a:spcBef>
        <a:spcAft>
          <a:spcPct val="0"/>
        </a:spcAft>
        <a:defRPr sz="2800">
          <a:solidFill>
            <a:schemeClr val="tx1"/>
          </a:solidFill>
          <a:latin typeface="Arial" charset="0"/>
        </a:defRPr>
      </a:lvl8pPr>
      <a:lvl9pPr marL="2351288" algn="l" rtl="0" eaLnBrk="1" fontAlgn="base" hangingPunct="1">
        <a:lnSpc>
          <a:spcPts val="3086"/>
        </a:lnSpc>
        <a:spcBef>
          <a:spcPct val="0"/>
        </a:spcBef>
        <a:spcAft>
          <a:spcPct val="0"/>
        </a:spcAft>
        <a:defRPr sz="2800">
          <a:solidFill>
            <a:schemeClr val="tx1"/>
          </a:solidFill>
          <a:latin typeface="Arial" charset="0"/>
        </a:defRPr>
      </a:lvl9pPr>
    </p:titleStyle>
    <p:bodyStyle>
      <a:lvl1pPr marL="244926" indent="-244926" algn="l" rtl="0" eaLnBrk="1" fontAlgn="base" hangingPunct="1">
        <a:lnSpc>
          <a:spcPct val="102000"/>
        </a:lnSpc>
        <a:spcBef>
          <a:spcPct val="0"/>
        </a:spcBef>
        <a:spcAft>
          <a:spcPct val="37000"/>
        </a:spcAft>
        <a:buChar char="•"/>
        <a:tabLst>
          <a:tab pos="7347776" algn="l"/>
        </a:tabLst>
        <a:defRPr>
          <a:solidFill>
            <a:schemeClr val="tx2"/>
          </a:solidFill>
          <a:latin typeface="+mn-lt"/>
          <a:ea typeface="+mn-ea"/>
          <a:cs typeface="+mn-cs"/>
        </a:defRPr>
      </a:lvl1pPr>
      <a:lvl2pPr marL="491893" indent="-244926" algn="l" rtl="0" eaLnBrk="1" fontAlgn="base" hangingPunct="1">
        <a:lnSpc>
          <a:spcPct val="94000"/>
        </a:lnSpc>
        <a:spcBef>
          <a:spcPct val="0"/>
        </a:spcBef>
        <a:spcAft>
          <a:spcPct val="36000"/>
        </a:spcAft>
        <a:buChar char="–"/>
        <a:tabLst>
          <a:tab pos="7347776" algn="l"/>
        </a:tabLst>
        <a:defRPr sz="2100">
          <a:solidFill>
            <a:schemeClr val="tx2"/>
          </a:solidFill>
          <a:latin typeface="+mn-lt"/>
        </a:defRPr>
      </a:lvl2pPr>
      <a:lvl3pPr marL="738860" indent="-244926" algn="l" rtl="0" eaLnBrk="1" fontAlgn="base" hangingPunct="1">
        <a:lnSpc>
          <a:spcPct val="95000"/>
        </a:lnSpc>
        <a:spcBef>
          <a:spcPct val="0"/>
        </a:spcBef>
        <a:spcAft>
          <a:spcPct val="30000"/>
        </a:spcAft>
        <a:buChar char="–"/>
        <a:tabLst>
          <a:tab pos="7347776" algn="l"/>
        </a:tabLst>
        <a:defRPr sz="1800">
          <a:solidFill>
            <a:schemeClr val="tx2"/>
          </a:solidFill>
          <a:latin typeface="+mn-lt"/>
        </a:defRPr>
      </a:lvl3pPr>
      <a:lvl4pPr marL="991950" indent="-251050" algn="l" rtl="0" eaLnBrk="1" fontAlgn="base" hangingPunct="1">
        <a:lnSpc>
          <a:spcPct val="97000"/>
        </a:lnSpc>
        <a:spcBef>
          <a:spcPct val="0"/>
        </a:spcBef>
        <a:spcAft>
          <a:spcPct val="28000"/>
        </a:spcAft>
        <a:buChar char="–"/>
        <a:tabLst>
          <a:tab pos="7347776" algn="l"/>
        </a:tabLst>
        <a:defRPr sz="1500">
          <a:solidFill>
            <a:schemeClr val="tx2"/>
          </a:solidFill>
          <a:latin typeface="+mn-lt"/>
        </a:defRPr>
      </a:lvl4pPr>
      <a:lvl5pPr marL="1234835" indent="-240844" algn="l" rtl="0" eaLnBrk="1" fontAlgn="base" hangingPunct="1">
        <a:lnSpc>
          <a:spcPts val="2057"/>
        </a:lnSpc>
        <a:spcBef>
          <a:spcPct val="0"/>
        </a:spcBef>
        <a:spcAft>
          <a:spcPct val="0"/>
        </a:spcAft>
        <a:buChar char="–"/>
        <a:tabLst>
          <a:tab pos="7347776" algn="l"/>
        </a:tabLst>
        <a:defRPr sz="1500">
          <a:solidFill>
            <a:schemeClr val="tx1"/>
          </a:solidFill>
          <a:latin typeface="Verdana" pitchFamily="34" charset="0"/>
        </a:defRPr>
      </a:lvl5pPr>
      <a:lvl6pPr marL="1822657" indent="-240844" algn="l" rtl="0" eaLnBrk="1" fontAlgn="base" hangingPunct="1">
        <a:lnSpc>
          <a:spcPts val="2057"/>
        </a:lnSpc>
        <a:spcBef>
          <a:spcPct val="0"/>
        </a:spcBef>
        <a:spcAft>
          <a:spcPct val="0"/>
        </a:spcAft>
        <a:buChar char="–"/>
        <a:tabLst>
          <a:tab pos="7347776" algn="l"/>
        </a:tabLst>
        <a:defRPr sz="1500">
          <a:solidFill>
            <a:schemeClr val="tx1"/>
          </a:solidFill>
          <a:latin typeface="Verdana" pitchFamily="34" charset="0"/>
        </a:defRPr>
      </a:lvl6pPr>
      <a:lvl7pPr marL="2410479" indent="-240844" algn="l" rtl="0" eaLnBrk="1" fontAlgn="base" hangingPunct="1">
        <a:lnSpc>
          <a:spcPts val="2057"/>
        </a:lnSpc>
        <a:spcBef>
          <a:spcPct val="0"/>
        </a:spcBef>
        <a:spcAft>
          <a:spcPct val="0"/>
        </a:spcAft>
        <a:buChar char="–"/>
        <a:tabLst>
          <a:tab pos="7347776" algn="l"/>
        </a:tabLst>
        <a:defRPr sz="1500">
          <a:solidFill>
            <a:schemeClr val="tx1"/>
          </a:solidFill>
          <a:latin typeface="Verdana" pitchFamily="34" charset="0"/>
        </a:defRPr>
      </a:lvl7pPr>
      <a:lvl8pPr marL="2998301" indent="-240844" algn="l" rtl="0" eaLnBrk="1" fontAlgn="base" hangingPunct="1">
        <a:lnSpc>
          <a:spcPts val="2057"/>
        </a:lnSpc>
        <a:spcBef>
          <a:spcPct val="0"/>
        </a:spcBef>
        <a:spcAft>
          <a:spcPct val="0"/>
        </a:spcAft>
        <a:buChar char="–"/>
        <a:tabLst>
          <a:tab pos="7347776" algn="l"/>
        </a:tabLst>
        <a:defRPr sz="1500">
          <a:solidFill>
            <a:schemeClr val="tx1"/>
          </a:solidFill>
          <a:latin typeface="Verdana" pitchFamily="34" charset="0"/>
        </a:defRPr>
      </a:lvl8pPr>
      <a:lvl9pPr marL="3586123" indent="-240844" algn="l" rtl="0" eaLnBrk="1" fontAlgn="base" hangingPunct="1">
        <a:lnSpc>
          <a:spcPts val="2057"/>
        </a:lnSpc>
        <a:spcBef>
          <a:spcPct val="0"/>
        </a:spcBef>
        <a:spcAft>
          <a:spcPct val="0"/>
        </a:spcAft>
        <a:buChar char="–"/>
        <a:tabLst>
          <a:tab pos="7347776" algn="l"/>
        </a:tabLst>
        <a:defRPr sz="1500">
          <a:solidFill>
            <a:schemeClr val="tx1"/>
          </a:solidFill>
          <a:latin typeface="Verdana" pitchFamily="34" charset="0"/>
        </a:defRPr>
      </a:lvl9pPr>
    </p:bodyStyle>
    <p:otherStyle>
      <a:defPPr>
        <a:defRPr lang="en-US"/>
      </a:defPPr>
      <a:lvl1pPr marL="0" algn="l" defTabSz="1175644" rtl="0" eaLnBrk="1" latinLnBrk="0" hangingPunct="1">
        <a:defRPr sz="2300" kern="1200">
          <a:solidFill>
            <a:schemeClr val="tx1"/>
          </a:solidFill>
          <a:latin typeface="+mn-lt"/>
          <a:ea typeface="+mn-ea"/>
          <a:cs typeface="+mn-cs"/>
        </a:defRPr>
      </a:lvl1pPr>
      <a:lvl2pPr marL="587822" algn="l" defTabSz="1175644" rtl="0" eaLnBrk="1" latinLnBrk="0" hangingPunct="1">
        <a:defRPr sz="2300" kern="1200">
          <a:solidFill>
            <a:schemeClr val="tx1"/>
          </a:solidFill>
          <a:latin typeface="+mn-lt"/>
          <a:ea typeface="+mn-ea"/>
          <a:cs typeface="+mn-cs"/>
        </a:defRPr>
      </a:lvl2pPr>
      <a:lvl3pPr marL="1175644" algn="l" defTabSz="1175644" rtl="0" eaLnBrk="1" latinLnBrk="0" hangingPunct="1">
        <a:defRPr sz="2300" kern="1200">
          <a:solidFill>
            <a:schemeClr val="tx1"/>
          </a:solidFill>
          <a:latin typeface="+mn-lt"/>
          <a:ea typeface="+mn-ea"/>
          <a:cs typeface="+mn-cs"/>
        </a:defRPr>
      </a:lvl3pPr>
      <a:lvl4pPr marL="1763466" algn="l" defTabSz="1175644" rtl="0" eaLnBrk="1" latinLnBrk="0" hangingPunct="1">
        <a:defRPr sz="2300" kern="1200">
          <a:solidFill>
            <a:schemeClr val="tx1"/>
          </a:solidFill>
          <a:latin typeface="+mn-lt"/>
          <a:ea typeface="+mn-ea"/>
          <a:cs typeface="+mn-cs"/>
        </a:defRPr>
      </a:lvl4pPr>
      <a:lvl5pPr marL="2351288" algn="l" defTabSz="1175644" rtl="0" eaLnBrk="1" latinLnBrk="0" hangingPunct="1">
        <a:defRPr sz="2300" kern="1200">
          <a:solidFill>
            <a:schemeClr val="tx1"/>
          </a:solidFill>
          <a:latin typeface="+mn-lt"/>
          <a:ea typeface="+mn-ea"/>
          <a:cs typeface="+mn-cs"/>
        </a:defRPr>
      </a:lvl5pPr>
      <a:lvl6pPr marL="2939110" algn="l" defTabSz="1175644" rtl="0" eaLnBrk="1" latinLnBrk="0" hangingPunct="1">
        <a:defRPr sz="2300" kern="1200">
          <a:solidFill>
            <a:schemeClr val="tx1"/>
          </a:solidFill>
          <a:latin typeface="+mn-lt"/>
          <a:ea typeface="+mn-ea"/>
          <a:cs typeface="+mn-cs"/>
        </a:defRPr>
      </a:lvl6pPr>
      <a:lvl7pPr marL="3526932" algn="l" defTabSz="1175644" rtl="0" eaLnBrk="1" latinLnBrk="0" hangingPunct="1">
        <a:defRPr sz="2300" kern="1200">
          <a:solidFill>
            <a:schemeClr val="tx1"/>
          </a:solidFill>
          <a:latin typeface="+mn-lt"/>
          <a:ea typeface="+mn-ea"/>
          <a:cs typeface="+mn-cs"/>
        </a:defRPr>
      </a:lvl7pPr>
      <a:lvl8pPr marL="4114754" algn="l" defTabSz="1175644" rtl="0" eaLnBrk="1" latinLnBrk="0" hangingPunct="1">
        <a:defRPr sz="2300" kern="1200">
          <a:solidFill>
            <a:schemeClr val="tx1"/>
          </a:solidFill>
          <a:latin typeface="+mn-lt"/>
          <a:ea typeface="+mn-ea"/>
          <a:cs typeface="+mn-cs"/>
        </a:defRPr>
      </a:lvl8pPr>
      <a:lvl9pPr marL="4702576" algn="l" defTabSz="1175644" rtl="0" eaLnBrk="1" latinLnBrk="0" hangingPunct="1">
        <a:defRPr sz="2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notesSlide" Target="../notesSlides/notesSlide1.xml"/><Relationship Id="rId1" Type="http://schemas.openxmlformats.org/officeDocument/2006/relationships/slideLayout" Target="../slideLayouts/slideLayout185.xml"/><Relationship Id="rId4" Type="http://schemas.openxmlformats.org/officeDocument/2006/relationships/image" Target="../media/image1.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0.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14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051" name="DeloitteLogoWhite" descr="DEL_COL_REV" hidden="1"/>
          <p:cNvPicPr>
            <a:picLocks noChangeAspect="1" noChangeArrowheads="1"/>
          </p:cNvPicPr>
          <p:nvPr/>
        </p:nvPicPr>
        <p:blipFill>
          <a:blip r:embed="rId3" cstate="print"/>
          <a:srcRect/>
          <a:stretch>
            <a:fillRect/>
          </a:stretch>
        </p:blipFill>
        <p:spPr bwMode="auto">
          <a:xfrm>
            <a:off x="513400" y="447993"/>
            <a:ext cx="2520315" cy="410210"/>
          </a:xfrm>
          <a:prstGeom prst="rect">
            <a:avLst/>
          </a:prstGeom>
          <a:noFill/>
          <a:ln w="9525">
            <a:noFill/>
            <a:miter lim="800000"/>
            <a:headEnd/>
            <a:tailEnd/>
          </a:ln>
        </p:spPr>
      </p:pic>
      <p:pic>
        <p:nvPicPr>
          <p:cNvPr id="2054" name="DPsmall" descr="DP_logo_colour.png" hidden="1"/>
          <p:cNvPicPr>
            <a:picLocks noChangeAspect="1"/>
          </p:cNvPicPr>
          <p:nvPr/>
        </p:nvPicPr>
        <p:blipFill>
          <a:blip r:embed="rId3" cstate="print"/>
          <a:srcRect/>
          <a:stretch>
            <a:fillRect/>
          </a:stretch>
        </p:blipFill>
        <p:spPr bwMode="auto">
          <a:xfrm>
            <a:off x="524510" y="465985"/>
            <a:ext cx="3175953" cy="345440"/>
          </a:xfrm>
          <a:prstGeom prst="rect">
            <a:avLst/>
          </a:prstGeom>
          <a:noFill/>
          <a:ln w="9525">
            <a:noFill/>
            <a:miter lim="800000"/>
            <a:headEnd/>
            <a:tailEnd/>
          </a:ln>
        </p:spPr>
      </p:pic>
      <p:sp>
        <p:nvSpPr>
          <p:cNvPr id="14" name="Rectangle 18"/>
          <p:cNvSpPr txBox="1">
            <a:spLocks/>
          </p:cNvSpPr>
          <p:nvPr/>
        </p:nvSpPr>
        <p:spPr bwMode="gray">
          <a:xfrm>
            <a:off x="406933" y="5818001"/>
            <a:ext cx="6210871" cy="1538883"/>
          </a:xfrm>
          <a:prstGeom prst="rect">
            <a:avLst/>
          </a:prstGeom>
        </p:spPr>
        <p:txBody>
          <a:bodyPr vert="horz" wrap="square" lIns="0" tIns="0" rIns="0" bIns="0" rtlCol="0">
            <a:spAutoFit/>
          </a:bodyPr>
          <a:lstStyle>
            <a:lvl1pPr marL="0" indent="0" algn="l" defTabSz="1036290" rtl="0" eaLnBrk="1" latinLnBrk="0" hangingPunct="1">
              <a:lnSpc>
                <a:spcPct val="100000"/>
              </a:lnSpc>
              <a:spcBef>
                <a:spcPts val="0"/>
              </a:spcBef>
              <a:spcAft>
                <a:spcPts val="1133"/>
              </a:spcAft>
              <a:buSzPct val="100000"/>
              <a:buFont typeface="Arial" panose="020B0604020202020204" pitchFamily="34" charset="0"/>
              <a:buNone/>
              <a:defRPr sz="3100" b="0" kern="1200" smtClean="0">
                <a:solidFill>
                  <a:schemeClr val="tx1"/>
                </a:solidFill>
                <a:latin typeface="Calibri" pitchFamily="34" charset="0"/>
                <a:ea typeface="+mn-ea"/>
                <a:cs typeface="+mn-cs"/>
              </a:defRPr>
            </a:lvl1pPr>
            <a:lvl2pPr marL="0" indent="0" algn="l" defTabSz="1036290" rtl="0" eaLnBrk="1" latinLnBrk="0" hangingPunct="1">
              <a:spcBef>
                <a:spcPts val="0"/>
              </a:spcBef>
              <a:spcAft>
                <a:spcPts val="1133"/>
              </a:spcAft>
              <a:buClrTx/>
              <a:buSzPct val="100000"/>
              <a:buFont typeface="Arial"/>
              <a:buNone/>
              <a:defRPr lang="en-US" sz="1360" b="1" kern="1200" dirty="0" smtClean="0">
                <a:solidFill>
                  <a:schemeClr val="tx1"/>
                </a:solidFill>
                <a:latin typeface="+mn-lt"/>
                <a:ea typeface="+mn-ea"/>
                <a:cs typeface="+mn-cs"/>
              </a:defRPr>
            </a:lvl2pPr>
            <a:lvl3pPr marL="199914" indent="-199914" algn="l" defTabSz="1036290" rtl="0" eaLnBrk="1" latinLnBrk="0" hangingPunct="1">
              <a:spcBef>
                <a:spcPts val="0"/>
              </a:spcBef>
              <a:spcAft>
                <a:spcPts val="1133"/>
              </a:spcAft>
              <a:buClrTx/>
              <a:buSzPct val="100000"/>
              <a:buFont typeface="Arial" panose="020B0604020202020204" pitchFamily="34" charset="0"/>
              <a:buChar char="•"/>
              <a:defRPr lang="en-US" sz="1360" kern="1200" dirty="0" smtClean="0">
                <a:solidFill>
                  <a:schemeClr val="tx1"/>
                </a:solidFill>
                <a:latin typeface="+mn-lt"/>
                <a:ea typeface="+mn-ea"/>
                <a:cs typeface="+mn-cs"/>
              </a:defRPr>
            </a:lvl3pPr>
            <a:lvl4pPr marL="403908" indent="-199914" algn="l" defTabSz="1036290" rtl="0" eaLnBrk="1" latinLnBrk="0" hangingPunct="1">
              <a:spcBef>
                <a:spcPts val="0"/>
              </a:spcBef>
              <a:spcAft>
                <a:spcPts val="1133"/>
              </a:spcAft>
              <a:buClrTx/>
              <a:buSzPct val="100000"/>
              <a:buFont typeface="Verdana" panose="020B0604030504040204" pitchFamily="34" charset="0"/>
              <a:buChar char="−"/>
              <a:defRPr lang="en-US" sz="1360" kern="1200" baseline="0" dirty="0" smtClean="0">
                <a:solidFill>
                  <a:schemeClr val="tx1"/>
                </a:solidFill>
                <a:latin typeface="+mn-lt"/>
                <a:ea typeface="+mn-ea"/>
                <a:cs typeface="+mn-cs"/>
              </a:defRPr>
            </a:lvl4pPr>
            <a:lvl5pPr marL="603822" indent="-199914" algn="l" defTabSz="904955" rtl="0" eaLnBrk="1" latinLnBrk="0" hangingPunct="1">
              <a:spcBef>
                <a:spcPts val="0"/>
              </a:spcBef>
              <a:spcAft>
                <a:spcPts val="1133"/>
              </a:spcAft>
              <a:buClrTx/>
              <a:buSzPct val="100000"/>
              <a:buFont typeface="Verdana" panose="020B0604030504040204" pitchFamily="34" charset="0"/>
              <a:buChar char="−"/>
              <a:tabLst/>
              <a:defRPr lang="en-US" sz="1360" kern="1200" baseline="0" dirty="0" smtClean="0">
                <a:solidFill>
                  <a:schemeClr val="tx1"/>
                </a:solidFill>
                <a:latin typeface="+mn-lt"/>
                <a:ea typeface="+mn-ea"/>
                <a:cs typeface="+mn-cs"/>
              </a:defRPr>
            </a:lvl5pPr>
            <a:lvl6pPr marL="603822" indent="-199914" algn="l" defTabSz="1036290" rtl="0" eaLnBrk="1" latinLnBrk="0" hangingPunct="1">
              <a:spcBef>
                <a:spcPts val="0"/>
              </a:spcBef>
              <a:spcAft>
                <a:spcPts val="1133"/>
              </a:spcAft>
              <a:buFont typeface="Verdana" panose="020B0604030504040204" pitchFamily="34" charset="0"/>
              <a:buChar char="−"/>
              <a:defRPr sz="1360" kern="1200" baseline="0">
                <a:solidFill>
                  <a:schemeClr val="tx1"/>
                </a:solidFill>
                <a:latin typeface="+mn-lt"/>
                <a:ea typeface="+mn-ea"/>
                <a:cs typeface="+mn-cs"/>
              </a:defRPr>
            </a:lvl6pPr>
            <a:lvl7pPr marL="603822" indent="-199914" algn="l" defTabSz="1036290" rtl="0" eaLnBrk="1" latinLnBrk="0" hangingPunct="1">
              <a:spcBef>
                <a:spcPts val="0"/>
              </a:spcBef>
              <a:spcAft>
                <a:spcPts val="1133"/>
              </a:spcAft>
              <a:buFont typeface="Verdana" panose="020B0604030504040204" pitchFamily="34" charset="0"/>
              <a:buChar char="−"/>
              <a:defRPr sz="1360" kern="1200">
                <a:solidFill>
                  <a:schemeClr val="tx1"/>
                </a:solidFill>
                <a:latin typeface="+mn-lt"/>
                <a:ea typeface="+mn-ea"/>
                <a:cs typeface="+mn-cs"/>
              </a:defRPr>
            </a:lvl7pPr>
            <a:lvl8pPr marL="603822" indent="-199914" algn="l" defTabSz="1036290" rtl="0" eaLnBrk="1" latinLnBrk="0" hangingPunct="1">
              <a:spcBef>
                <a:spcPts val="0"/>
              </a:spcBef>
              <a:spcAft>
                <a:spcPts val="1133"/>
              </a:spcAft>
              <a:buFont typeface="Verdana" panose="020B0604030504040204" pitchFamily="34" charset="0"/>
              <a:buChar char="−"/>
              <a:defRPr sz="1360" kern="1200" baseline="0">
                <a:solidFill>
                  <a:schemeClr val="tx1"/>
                </a:solidFill>
                <a:latin typeface="+mn-lt"/>
                <a:ea typeface="+mn-ea"/>
                <a:cs typeface="+mn-cs"/>
              </a:defRPr>
            </a:lvl8pPr>
            <a:lvl9pPr marL="603822" indent="-199914" algn="l" defTabSz="1036290" rtl="0" eaLnBrk="1" latinLnBrk="0" hangingPunct="1">
              <a:spcBef>
                <a:spcPts val="0"/>
              </a:spcBef>
              <a:spcAft>
                <a:spcPts val="1133"/>
              </a:spcAft>
              <a:buFont typeface="Verdana" panose="020B0604030504040204" pitchFamily="34" charset="0"/>
              <a:buChar char="−"/>
              <a:defRPr sz="1360" kern="1200" baseline="0">
                <a:solidFill>
                  <a:schemeClr val="tx1"/>
                </a:solidFill>
                <a:latin typeface="+mn-lt"/>
                <a:ea typeface="+mn-ea"/>
                <a:cs typeface="+mn-cs"/>
              </a:defRPr>
            </a:lvl9pPr>
          </a:lstStyle>
          <a:p>
            <a:pPr defTabSz="909344">
              <a:lnSpc>
                <a:spcPts val="1994"/>
              </a:lnSpc>
              <a:spcBef>
                <a:spcPct val="0"/>
              </a:spcBef>
              <a:spcAft>
                <a:spcPts val="0"/>
              </a:spcAft>
              <a:buFont typeface="Arial" charset="0"/>
            </a:pPr>
            <a:r>
              <a:rPr lang="en-US" sz="1600" b="1" dirty="0">
                <a:solidFill>
                  <a:schemeClr val="bg1"/>
                </a:solidFill>
                <a:latin typeface="+mn-lt"/>
                <a:cs typeface="Andalus" pitchFamily="2" charset="-78"/>
              </a:rPr>
              <a:t>Presentation at the </a:t>
            </a:r>
            <a:r>
              <a:rPr lang="en-US" sz="1600" b="1" dirty="0" smtClean="0">
                <a:solidFill>
                  <a:schemeClr val="bg1"/>
                </a:solidFill>
                <a:latin typeface="+mn-lt"/>
                <a:cs typeface="Andalus" pitchFamily="2" charset="-78"/>
              </a:rPr>
              <a:t>40</a:t>
            </a:r>
            <a:r>
              <a:rPr lang="en-US" sz="1600" b="1" baseline="30000" dirty="0" smtClean="0">
                <a:solidFill>
                  <a:schemeClr val="bg1"/>
                </a:solidFill>
                <a:latin typeface="+mn-lt"/>
                <a:cs typeface="Andalus" pitchFamily="2" charset="-78"/>
              </a:rPr>
              <a:t>th</a:t>
            </a:r>
            <a:r>
              <a:rPr lang="en-US" sz="1600" b="1" dirty="0" smtClean="0">
                <a:solidFill>
                  <a:schemeClr val="bg1"/>
                </a:solidFill>
                <a:latin typeface="+mn-lt"/>
                <a:cs typeface="Andalus" pitchFamily="2" charset="-78"/>
              </a:rPr>
              <a:t> General Meeting of </a:t>
            </a:r>
            <a:r>
              <a:rPr lang="en-US" sz="1600" b="1" dirty="0">
                <a:solidFill>
                  <a:schemeClr val="bg1"/>
                </a:solidFill>
                <a:latin typeface="+mn-lt"/>
                <a:cs typeface="Andalus" pitchFamily="2" charset="-78"/>
              </a:rPr>
              <a:t>the Association of Chief Audit Executives of Banks in </a:t>
            </a:r>
            <a:r>
              <a:rPr lang="en-US" sz="1600" b="1" dirty="0" smtClean="0">
                <a:solidFill>
                  <a:schemeClr val="bg1"/>
                </a:solidFill>
                <a:latin typeface="+mn-lt"/>
                <a:cs typeface="Andalus" pitchFamily="2" charset="-78"/>
              </a:rPr>
              <a:t>Nigeria (</a:t>
            </a:r>
            <a:r>
              <a:rPr lang="en-GB" sz="1600" b="1" dirty="0" smtClean="0">
                <a:solidFill>
                  <a:schemeClr val="bg1"/>
                </a:solidFill>
                <a:latin typeface="+mn-lt"/>
                <a:cs typeface="Andalus" pitchFamily="2" charset="-78"/>
              </a:rPr>
              <a:t>ACAEBIN)</a:t>
            </a:r>
          </a:p>
          <a:p>
            <a:pPr defTabSz="909344">
              <a:lnSpc>
                <a:spcPts val="1994"/>
              </a:lnSpc>
              <a:spcBef>
                <a:spcPct val="0"/>
              </a:spcBef>
              <a:spcAft>
                <a:spcPts val="0"/>
              </a:spcAft>
              <a:buFont typeface="Arial" charset="0"/>
            </a:pPr>
            <a:r>
              <a:rPr lang="en-US" sz="1600" b="1" dirty="0">
                <a:solidFill>
                  <a:schemeClr val="bg1"/>
                </a:solidFill>
                <a:latin typeface="+mn-lt"/>
                <a:cs typeface="Andalus" pitchFamily="2" charset="-78"/>
              </a:rPr>
              <a:t/>
            </a:r>
            <a:br>
              <a:rPr lang="en-US" sz="1600" b="1" dirty="0">
                <a:solidFill>
                  <a:schemeClr val="bg1"/>
                </a:solidFill>
                <a:latin typeface="+mn-lt"/>
                <a:cs typeface="Andalus" pitchFamily="2" charset="-78"/>
              </a:rPr>
            </a:br>
            <a:r>
              <a:rPr lang="it-IT" sz="1300" b="1" dirty="0">
                <a:solidFill>
                  <a:schemeClr val="bg1"/>
                </a:solidFill>
                <a:latin typeface="+mn-lt"/>
                <a:cs typeface="Andalus" pitchFamily="2" charset="-78"/>
              </a:rPr>
              <a:t>Tope S. Aladenusi, </a:t>
            </a:r>
            <a:endParaRPr lang="it-IT" sz="1300" b="1" dirty="0" smtClean="0">
              <a:solidFill>
                <a:schemeClr val="bg1"/>
              </a:solidFill>
              <a:latin typeface="+mn-lt"/>
              <a:cs typeface="Andalus" pitchFamily="2" charset="-78"/>
            </a:endParaRPr>
          </a:p>
          <a:p>
            <a:pPr defTabSz="909344">
              <a:lnSpc>
                <a:spcPts val="1994"/>
              </a:lnSpc>
              <a:spcBef>
                <a:spcPct val="0"/>
              </a:spcBef>
              <a:spcAft>
                <a:spcPts val="0"/>
              </a:spcAft>
              <a:buFont typeface="Arial" charset="0"/>
            </a:pPr>
            <a:r>
              <a:rPr lang="it-IT" sz="1300" b="1" dirty="0" smtClean="0">
                <a:solidFill>
                  <a:schemeClr val="bg1"/>
                </a:solidFill>
                <a:latin typeface="+mn-lt"/>
                <a:cs typeface="Andalus" pitchFamily="2" charset="-78"/>
              </a:rPr>
              <a:t>Partner, Cyber Risk Services, </a:t>
            </a:r>
            <a:r>
              <a:rPr lang="it-IT" sz="1300" b="1" dirty="0">
                <a:solidFill>
                  <a:schemeClr val="bg1"/>
                </a:solidFill>
                <a:latin typeface="+mn-lt"/>
                <a:cs typeface="Andalus" pitchFamily="2" charset="-78"/>
              </a:rPr>
              <a:t>Deloitte Nigeria</a:t>
            </a:r>
          </a:p>
          <a:p>
            <a:pPr defTabSz="909344">
              <a:lnSpc>
                <a:spcPts val="1994"/>
              </a:lnSpc>
              <a:spcBef>
                <a:spcPct val="0"/>
              </a:spcBef>
              <a:spcAft>
                <a:spcPts val="0"/>
              </a:spcAft>
              <a:buFont typeface="Arial" charset="0"/>
            </a:pPr>
            <a:r>
              <a:rPr lang="en-GB" sz="1300" dirty="0" smtClean="0">
                <a:solidFill>
                  <a:schemeClr val="bg1"/>
                </a:solidFill>
                <a:latin typeface="+mn-lt"/>
                <a:cs typeface="Andalus" pitchFamily="2" charset="-78"/>
              </a:rPr>
              <a:t>20 September 2018</a:t>
            </a:r>
            <a:endParaRPr lang="en-US" dirty="0">
              <a:solidFill>
                <a:schemeClr val="bg1"/>
              </a:solidFill>
            </a:endParaRPr>
          </a:p>
        </p:txBody>
      </p:sp>
      <p:pic>
        <p:nvPicPr>
          <p:cNvPr id="7" name="Picture 6"/>
          <p:cNvPicPr/>
          <p:nvPr/>
        </p:nvPicPr>
        <p:blipFill rotWithShape="1">
          <a:blip r:embed="rId4"/>
          <a:srcRect l="18081" t="27710" r="17800" b="27556"/>
          <a:stretch/>
        </p:blipFill>
        <p:spPr>
          <a:xfrm>
            <a:off x="6617804" y="1168446"/>
            <a:ext cx="6056244" cy="5788438"/>
          </a:xfrm>
          <a:prstGeom prst="rect">
            <a:avLst/>
          </a:prstGeom>
        </p:spPr>
      </p:pic>
      <p:sp>
        <p:nvSpPr>
          <p:cNvPr id="9" name="Rectangle 18"/>
          <p:cNvSpPr txBox="1">
            <a:spLocks/>
          </p:cNvSpPr>
          <p:nvPr/>
        </p:nvSpPr>
        <p:spPr bwMode="gray">
          <a:xfrm>
            <a:off x="513400" y="3192683"/>
            <a:ext cx="5134168" cy="1436291"/>
          </a:xfrm>
          <a:prstGeom prst="rect">
            <a:avLst/>
          </a:prstGeom>
        </p:spPr>
        <p:txBody>
          <a:bodyPr vert="horz" wrap="square" lIns="0" tIns="0" rIns="0" bIns="0" rtlCol="0">
            <a:spAutoFit/>
          </a:bodyPr>
          <a:lstStyle>
            <a:lvl1pPr marL="0" indent="0" algn="l" defTabSz="1036290" rtl="0" eaLnBrk="1" latinLnBrk="0" hangingPunct="1">
              <a:lnSpc>
                <a:spcPct val="100000"/>
              </a:lnSpc>
              <a:spcBef>
                <a:spcPts val="0"/>
              </a:spcBef>
              <a:spcAft>
                <a:spcPts val="1133"/>
              </a:spcAft>
              <a:buSzPct val="100000"/>
              <a:buFont typeface="Arial" panose="020B0604020202020204" pitchFamily="34" charset="0"/>
              <a:buNone/>
              <a:defRPr sz="3100" b="0" kern="1200" smtClean="0">
                <a:solidFill>
                  <a:schemeClr val="tx1"/>
                </a:solidFill>
                <a:latin typeface="Calibri" pitchFamily="34" charset="0"/>
                <a:ea typeface="+mn-ea"/>
                <a:cs typeface="+mn-cs"/>
              </a:defRPr>
            </a:lvl1pPr>
            <a:lvl2pPr marL="0" indent="0" algn="l" defTabSz="1036290" rtl="0" eaLnBrk="1" latinLnBrk="0" hangingPunct="1">
              <a:spcBef>
                <a:spcPts val="0"/>
              </a:spcBef>
              <a:spcAft>
                <a:spcPts val="1133"/>
              </a:spcAft>
              <a:buClrTx/>
              <a:buSzPct val="100000"/>
              <a:buFont typeface="Arial"/>
              <a:buNone/>
              <a:defRPr lang="en-US" sz="1360" b="1" kern="1200" dirty="0" smtClean="0">
                <a:solidFill>
                  <a:schemeClr val="tx1"/>
                </a:solidFill>
                <a:latin typeface="+mn-lt"/>
                <a:ea typeface="+mn-ea"/>
                <a:cs typeface="+mn-cs"/>
              </a:defRPr>
            </a:lvl2pPr>
            <a:lvl3pPr marL="199914" indent="-199914" algn="l" defTabSz="1036290" rtl="0" eaLnBrk="1" latinLnBrk="0" hangingPunct="1">
              <a:spcBef>
                <a:spcPts val="0"/>
              </a:spcBef>
              <a:spcAft>
                <a:spcPts val="1133"/>
              </a:spcAft>
              <a:buClrTx/>
              <a:buSzPct val="100000"/>
              <a:buFont typeface="Arial" panose="020B0604020202020204" pitchFamily="34" charset="0"/>
              <a:buChar char="•"/>
              <a:defRPr lang="en-US" sz="1360" kern="1200" dirty="0" smtClean="0">
                <a:solidFill>
                  <a:schemeClr val="tx1"/>
                </a:solidFill>
                <a:latin typeface="+mn-lt"/>
                <a:ea typeface="+mn-ea"/>
                <a:cs typeface="+mn-cs"/>
              </a:defRPr>
            </a:lvl3pPr>
            <a:lvl4pPr marL="403908" indent="-199914" algn="l" defTabSz="1036290" rtl="0" eaLnBrk="1" latinLnBrk="0" hangingPunct="1">
              <a:spcBef>
                <a:spcPts val="0"/>
              </a:spcBef>
              <a:spcAft>
                <a:spcPts val="1133"/>
              </a:spcAft>
              <a:buClrTx/>
              <a:buSzPct val="100000"/>
              <a:buFont typeface="Verdana" panose="020B0604030504040204" pitchFamily="34" charset="0"/>
              <a:buChar char="−"/>
              <a:defRPr lang="en-US" sz="1360" kern="1200" baseline="0" dirty="0" smtClean="0">
                <a:solidFill>
                  <a:schemeClr val="tx1"/>
                </a:solidFill>
                <a:latin typeface="+mn-lt"/>
                <a:ea typeface="+mn-ea"/>
                <a:cs typeface="+mn-cs"/>
              </a:defRPr>
            </a:lvl4pPr>
            <a:lvl5pPr marL="603822" indent="-199914" algn="l" defTabSz="904955" rtl="0" eaLnBrk="1" latinLnBrk="0" hangingPunct="1">
              <a:spcBef>
                <a:spcPts val="0"/>
              </a:spcBef>
              <a:spcAft>
                <a:spcPts val="1133"/>
              </a:spcAft>
              <a:buClrTx/>
              <a:buSzPct val="100000"/>
              <a:buFont typeface="Verdana" panose="020B0604030504040204" pitchFamily="34" charset="0"/>
              <a:buChar char="−"/>
              <a:tabLst/>
              <a:defRPr lang="en-US" sz="1360" kern="1200" baseline="0" dirty="0" smtClean="0">
                <a:solidFill>
                  <a:schemeClr val="tx1"/>
                </a:solidFill>
                <a:latin typeface="+mn-lt"/>
                <a:ea typeface="+mn-ea"/>
                <a:cs typeface="+mn-cs"/>
              </a:defRPr>
            </a:lvl5pPr>
            <a:lvl6pPr marL="603822" indent="-199914" algn="l" defTabSz="1036290" rtl="0" eaLnBrk="1" latinLnBrk="0" hangingPunct="1">
              <a:spcBef>
                <a:spcPts val="0"/>
              </a:spcBef>
              <a:spcAft>
                <a:spcPts val="1133"/>
              </a:spcAft>
              <a:buFont typeface="Verdana" panose="020B0604030504040204" pitchFamily="34" charset="0"/>
              <a:buChar char="−"/>
              <a:defRPr sz="1360" kern="1200" baseline="0">
                <a:solidFill>
                  <a:schemeClr val="tx1"/>
                </a:solidFill>
                <a:latin typeface="+mn-lt"/>
                <a:ea typeface="+mn-ea"/>
                <a:cs typeface="+mn-cs"/>
              </a:defRPr>
            </a:lvl6pPr>
            <a:lvl7pPr marL="603822" indent="-199914" algn="l" defTabSz="1036290" rtl="0" eaLnBrk="1" latinLnBrk="0" hangingPunct="1">
              <a:spcBef>
                <a:spcPts val="0"/>
              </a:spcBef>
              <a:spcAft>
                <a:spcPts val="1133"/>
              </a:spcAft>
              <a:buFont typeface="Verdana" panose="020B0604030504040204" pitchFamily="34" charset="0"/>
              <a:buChar char="−"/>
              <a:defRPr sz="1360" kern="1200">
                <a:solidFill>
                  <a:schemeClr val="tx1"/>
                </a:solidFill>
                <a:latin typeface="+mn-lt"/>
                <a:ea typeface="+mn-ea"/>
                <a:cs typeface="+mn-cs"/>
              </a:defRPr>
            </a:lvl7pPr>
            <a:lvl8pPr marL="603822" indent="-199914" algn="l" defTabSz="1036290" rtl="0" eaLnBrk="1" latinLnBrk="0" hangingPunct="1">
              <a:spcBef>
                <a:spcPts val="0"/>
              </a:spcBef>
              <a:spcAft>
                <a:spcPts val="1133"/>
              </a:spcAft>
              <a:buFont typeface="Verdana" panose="020B0604030504040204" pitchFamily="34" charset="0"/>
              <a:buChar char="−"/>
              <a:defRPr sz="1360" kern="1200" baseline="0">
                <a:solidFill>
                  <a:schemeClr val="tx1"/>
                </a:solidFill>
                <a:latin typeface="+mn-lt"/>
                <a:ea typeface="+mn-ea"/>
                <a:cs typeface="+mn-cs"/>
              </a:defRPr>
            </a:lvl8pPr>
            <a:lvl9pPr marL="603822" indent="-199914" algn="l" defTabSz="1036290" rtl="0" eaLnBrk="1" latinLnBrk="0" hangingPunct="1">
              <a:spcBef>
                <a:spcPts val="0"/>
              </a:spcBef>
              <a:spcAft>
                <a:spcPts val="1133"/>
              </a:spcAft>
              <a:buFont typeface="Verdana" panose="020B0604030504040204" pitchFamily="34" charset="0"/>
              <a:buChar char="−"/>
              <a:defRPr sz="1360" kern="1200" baseline="0">
                <a:solidFill>
                  <a:schemeClr val="tx1"/>
                </a:solidFill>
                <a:latin typeface="+mn-lt"/>
                <a:ea typeface="+mn-ea"/>
                <a:cs typeface="+mn-cs"/>
              </a:defRPr>
            </a:lvl9pPr>
          </a:lstStyle>
          <a:p>
            <a:pPr indent="-457200" defTabSz="909344">
              <a:lnSpc>
                <a:spcPct val="150000"/>
              </a:lnSpc>
              <a:spcBef>
                <a:spcPct val="0"/>
              </a:spcBef>
              <a:spcAft>
                <a:spcPts val="0"/>
              </a:spcAft>
              <a:buFont typeface="Arial" charset="0"/>
            </a:pPr>
            <a:r>
              <a:rPr lang="en-US" sz="20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Cyber Security – The Role of Audit Executives</a:t>
            </a:r>
            <a:endParaRPr lang="en-US" sz="2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defTabSz="909344">
              <a:lnSpc>
                <a:spcPts val="1994"/>
              </a:lnSpc>
              <a:spcBef>
                <a:spcPct val="0"/>
              </a:spcBef>
              <a:spcAft>
                <a:spcPts val="0"/>
              </a:spcAft>
              <a:buFont typeface="Arial" charset="0"/>
            </a:pPr>
            <a:r>
              <a:rPr lang="en-US" sz="1300" dirty="0" smtClean="0">
                <a:solidFill>
                  <a:schemeClr val="bg1"/>
                </a:solidFill>
              </a:rPr>
              <a:t/>
            </a:r>
            <a:br>
              <a:rPr lang="en-US" sz="1300" dirty="0" smtClean="0">
                <a:solidFill>
                  <a:schemeClr val="bg1"/>
                </a:solidFill>
              </a:rPr>
            </a:br>
            <a:endParaRPr lang="en-US" dirty="0">
              <a:solidFill>
                <a:schemeClr val="bg1"/>
              </a:solidFill>
            </a:endParaRPr>
          </a:p>
        </p:txBody>
      </p:sp>
    </p:spTree>
    <p:extLst>
      <p:ext uri="{BB962C8B-B14F-4D97-AF65-F5344CB8AC3E}">
        <p14:creationId xmlns:p14="http://schemas.microsoft.com/office/powerpoint/2010/main" val="2883904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580072" y="883394"/>
            <a:ext cx="11662259" cy="1415772"/>
          </a:xfrm>
        </p:spPr>
        <p:txBody>
          <a:bodyPr/>
          <a:lstStyle/>
          <a:p>
            <a:r>
              <a:rPr lang="en-US" i="1" dirty="0"/>
              <a:t>With the rapid technology advancement, organizations are exposed to cyber risks now more than ever. </a:t>
            </a:r>
            <a:r>
              <a:rPr lang="en-ZA" i="1" dirty="0"/>
              <a:t>Audit committees and board members </a:t>
            </a:r>
            <a:r>
              <a:rPr lang="en-ZA" i="1" dirty="0" smtClean="0"/>
              <a:t>world wide are seeing </a:t>
            </a:r>
            <a:r>
              <a:rPr lang="en-ZA" i="1" dirty="0"/>
              <a:t>cybersecurity as a top risk, underscored by recent headlines and increased government and regulatory focus </a:t>
            </a:r>
            <a:endParaRPr lang="en-ZA" dirty="0"/>
          </a:p>
        </p:txBody>
      </p:sp>
      <p:sp>
        <p:nvSpPr>
          <p:cNvPr id="5" name="AutoShape 6" descr="data:image/jpeg;base64,/9j/4AAQSkZJRgABAQAAAQABAAD/2wCEAAkGBwgHBhUIBwgVFhUWFyAZGRgYFyUfIBwiICEmIhwgKR8kHDQsHCMlHCEnITErJSksOjEuHR8zOj8xNzEwLiwBCgoKDg0OGxAQGjcmICUsLDQ3Njc4LCw3LDcsNDA1LDIuLi8wNC0vNzAvLC0sNjY3NywyLC80NCwuLy43NywsLP/AABEIALcBEwMBEQACEQEDEQH/xAAbAAEAAQUBAAAAAAAAAAAAAAAABgECBAUHA//EADUQAAIBAwIEBAUBBwUAAAAAAAABAgMEEQUhBhIxQSJRYXETMoGRoUIHFBVSgqKxI2JywfH/xAAbAQEAAgMBAQAAAAAAAAAAAAAABQYCAwQBB//EADYRAAIBAwIEBQMCBQMFAAAAAAABAgMEESExBRJBUQZhcYGhEyKRwfAUIzKx0UKS4SVicoLx/9oADAMBAAIRAxEAPwDm5cCEAAAAAAAAAAAAAAAAAAAAAAAAAAAAAAAAAAAAAAAAAAAAAAAAAAAAAAAAAAAAAAAAAAAAAAAAAAAAAAAAAAAAAAAAAAAAAAAAAAAAAAAAAAAAAAAAAAAAAAAAAAAAAAAAAMrUbCvp1wqF1HDcIz+kkn+Onumc1pd07qDnTeicl/tbX6Z9DbVoypS5Zdk/yYp0moAAAAAAAAAAAAAAAAAAAAAAAAAAAAAAAAAAAAAAAAAAAGTcWNa3s6V3UXhq83L/AEvD/JzUrqnUrVKMX90MZ/8AZZRtlSlGEZvZ5+DGOk1AAmnC/D/D2t4cL2qqkcOVKTjvjrh8vij7fgpnG+NcU4dnNKLg9prOnbKzo/h9GyZs7S2r4xJ57Ep4x4f0nUMajql46ShHlcljdZylut3lvCXmVTw7xq+ts2ttT+o5PONdO/ttnJJX1pRqfzKksYOVX6s1dNac5uC6OeMv1wlt7H1a2+u6adxjm/7c4X53+CsVfp838vbzMc6DWeltRnc3EaFJbzkor3bwvya61WNKnKpLaKbfotWZQg5yUV1K3VCdrdTt6vzQk4v3TwzyjVjWpxqQ2kk16PUTg4ScX0PI2mIAAAAAAAAAAAAAAAAAAAAAAAAAAAAAAAAAAABJOGNH0TWWre4v6lOt2i8Yl/xeOvo/yVzjXEuIWCdWnRU6ffXK9V28/wA4JGzt7ev9spNS/v6E/wBW4Wsb3Q6Wn1a7hGgtp7Zwlh5ztv1fsfPuH+IrmhfVbiMOZ1f9OvfTGNdNkTtexpzoxpt4Uepy7W6OlW1z8HSbmdRLrOSST9tt16/+n1Ph1W8q0+e6goN7JZbXr09vz2K1cxowly0m35/4NaSJzEi4Q1Wz0KdXUbmPNPl5KcF3b3k2/wBKWEs+rK9x/h1fiMadrTfLDOZS7Y2SXVvLftq9iQsK8LfmqS1eyRsq/F8Ne0atpusUowlJc1OcflynmMX5dMZ9d8dSMo+GXw28pXVnJuK0knvh6NrbPfHlpnY6ZcRVxSlTqrD6MhZdCGL6Xw/ir4yfLnfHXHpkxnzcr5N/PY9jjP3bHRuD+G9ErXENW07UJ1OR55JJJp4eMrth7r2PnHiHjvEadOdncUVHmWOZNtNZ1w/Pbus6pFhsbO3clVpyzjoV4w4b0WncT1bUdQnT538kUm28JbLq2+v1PPDvHeITpws7eip8vVtrCz1flt3fTIvrKgpOrUljJzit8P4r+Any525uuPXB9Hhzcq59+uNvYr8uXP27FhmYgAAAAAAAAAAAAAAAAAAAAAAAAAAAAAAAAAA2vC9aztdZjeajPEKWZ4xlya+VJefM0/oyK41SuK1nKjbr7p/b2ST/AKm/LGUdVnKEKqnU2Wv+CV0eP6N9cVLTVrNRoVE4px3lFNYef5vpjHqVSp4NnbQhWtKmasGnropNa6dvfOeuCUjxaNSThUWIv96kBqw+HVdPnTw2sro8d16F+hLmipYxn4IKSw2i0yPAAAAAACV8N8QW3DeiTnRgp3FWWy7RjHaPM/fLwu2OhVOMcFq8WvIRm+WjBe8m98eySy+uyepKWl3C1otrWT+PUrxFxDbcSaHF3EFC4pSzjtOL2lyvtvh4fl3POEcEq8JvZKm+ajUXvFrVZ9srK90j26vIXVFZ0kvn0ImWwigAAAAAAAAAAAAAAAAAAAAAAAAAAAAAAAADZ22j1a+gVdWj0pzjH3z832bj92RlbiUKd/Ts3vOMn+NvylL8HTC2cqEqvZr/AJ/Q1hJnMAAAAAAAAAAAAAAAADZ8P6PV1q8lb0esacp/VLwr6yaX3IzivEoWFKNSfWUY/l6v2jlnTa2zrycV0Tf+Pk1hJnMAAAAAAAAAAAAAAAAAAAAAAAAAAAADaaFeaZbXHLrGnKrTfVqUlKPtiSTXo/uRfE7a8rU82dbkmvJNP1ym16r8HTbVKUZYqxyvfJ1+z0nTI6R+421tijNZcd9+b3eU/wDB8eueJXrvPr1J/wA2DxnTTHpp+jLXTt6SpckV9r9evycs4puNFjcSs9F0xQ5XiVSTlltPdKLlsvff2PqvBKHEXTVa9r82VlRSjhZ7tLV+mnqVq9nQUnClDGOupHywHAAAAAAAAAAAAAADIsLijbXKqXNpGrHvCTaz9U8p/f2Oe6o1KtNxp1HCXRpJ49msNfj1RspTjGWZRyjrvCFvorsf4jolm6aqbPLefC+m7ffyPkHiGvxFV/4W9qc3LqsYxr10S6d9i1WMKHJ9SlHGfUifGy4f0iu7W00hOtLxOUpT5Y5745vE/RbL8Fu8NPit9TVetcYpLRJKOXju8aL5fluRfEFbUXyxh93vj+5Bi8kKAAAAAAAAAAAAAAAAAAAAAAAAAAAe1nKjG6jK6i3BSTkl1aT3X1Wxqrqo6UlTeJYePJ9H7GdNxU05bEiueOtZq6mrujUUIrZUuscev8z9dvTBXKPhHh8LZ0Jrmk95f6s+Xb01z1yd8+K13U51ou3T3NNrl5R1HVJ3tClyfE8Tj5Sa8W/dOWX26k1w21na20aE5c3Lon3S/p06YWF7HJc1I1KjnFYz+2YB3GgAAAAAAAAAAAAAAAkdfiy8o6fS07SJulTpJeJfNOXWTfknLLx989Cu0/DtvUuKl1drnnNvR7RWyS7tLCz+MEhLiE4wjTpaJfJi8Q65/Ho069xRUa0E4Sa6SXWL9Gnnb1+h08J4SuGupTpyzTk8pPeL2a81tjr37mu6uv4hRlJfctPU0xMnGAAAAAAAAAAAAAAAAAAAAAAAAAAAAAAAAAAAAAAAAAAAAAAAAAAAAAAAAAAAAAAAAAAAAAAAAAAAAAAMpdWAb+10F1uDqusY3jUWP+C2l/dL+wga3F1T4vTsejg8/wDk9V8Rf+474WmbWVXrn4/b+CP5XmT2DgKgAAAAAAAAAAAAAAAAAAG94N0WOu6pKhUfhjTk2/Jtcsf7nn+kgvEPFXw21VVbuUV7ZzL4TXud1ha/XqOL2w/+DR1IypVHTqrEk8NeTXVfcnIyU4qUdU9TjlFxeGUPTEAAAAAAAAAAAAAAAAAAAAAAAA2/D2v3eiV80YKcG/FTktn7eT9V+SJ4rwijxCniTcZLaS0a9e68vw0ddrdzoS0WV2O1QUORQcEsr5f8/k+JTcudzUm8PfX2/sW9YxjByDi7X7vUr2dnKkqdOE3Hkj3cXjLfff6f5PsXAeEULWjGspOcpJPmfZr/AErp/d/BVb67nUm4Ywk9v8kdLCR4AAAAAAAAAAAAAAAAMiwvbjT7pXNpUxJfVP0afVGi5tqVzTdKqsp+34e6NlKrKnLmjudj4V1J6rosb+tbRpuTaeOjw8ZXll9j4zx6x/g72VvCbmks67rKzh+i1zoW2yrfVpKo1jJGv2h69dafcLTrOhGHPDmdTHieW00tvD03fX2LP4R4TRuaX8VVm5crxy64WMb999Ft69I7il1Ok/pxWMrc5yfRivgAAAAAAAAAAAAAAAAAAAAAAAHvZXH7peQuVTUnCSkk+ja3WfTJpuKP1qUqWccyayt9d8eZnTnyTUsbGRW1rUq2p/xKd5L4q6STxj0S6JenQ5qfC7Snbfwsaa+n27+b6589zbK6qyqfUctTy1S+nqV9K8rQSlLHNjo3jDeO2cZ98m2ytI2lGNGDbjHbPRZ0Xtt6GFaq6s3NrVmKdRqAAAAAAAAAAAAAAAAAANhqGsXd9a07OU+WlTilGC6bfqfnJvfL89sEfa8NoW9WddLM5ttye+vRdktsfnJ0VbmdSKhsl0Goaxd6laU6F9PndPKjN/Nh42b/AFdNm9+vU9tOG0LSrOpQXKp4yumV1S6Zzr0226qtzOrBRnrjqa87znAAAAAAAAAAAAAAAAAAAAAAAAAAAAAAAAAAAAAAAAAAAAAAAAAAAAAAAAAAAAAAAAAAAAAAAAAAAAAAMuz02/voOdlZ1KiWz5It4+3Q5bi+trZpVqijnu0s/k2woVKizCLZKrDhS5nwbXqVrSSrOalCLi+bEPTrlqUvfYql14joR4xRhConS5Wm8rGZee2nLH01JSlYSdpNuP3Z/t+2Re60jUrSj8a7sKkIrvKDS+7RaKHErOvPkpVYyfZNN/BGTt6sFmUWkYR2mkAAAAAAAAAAAAAHtaWlze1fhWlCU5YziKy/sjTXuKVCHPVkoru3hfkzhTlN4issl3BXC1zXv6j1WynCCpSiueLWXNcu2VviOfwVHxH4ho0qEP4WopS54t4aekXnXHdpfJK8PsZSnL6kWlh/JHqvD2s0W1PTKuI5y+R4275x09Sw0+NcPqY5a8cvGnMs69MZ3OCVnXTf2P8ADNYSZzAAAAAAAAAAAAAAAAAAAAAAAAAAAGXpd7e2F9GtptVxqZwsd89mu6b7M5L21t7mi6dxFOPn080+mO5uoValOadN6na/4pZ0LuGn3d3BVpRzy5xl9/bL6JvL9T4k+HXFSlO5o026Sb18v1x1a0XXBcPrwjJU5SXMzkvGN7qFzrtSjqVXPw5uMYraKXbC9Vh56n13w/a2lGxpzto454pt7tvrl+Tyuy6Iq1/VqyrONR7M0ZNnEAAAAAAAAAAAAAC6nUnSqKpSm008pp4afmn2MZwjOLjJZT6PXJ7GTi8o6/oWufA4bo3nEN5GMqnRvZtZxF4Xpu30Se58e4rwj6vEqtDh1NtR3S1SeNcZ89Et29i2W9zy0Izryw2Rf9p19f8A77C0Vf8A0JQU4qPSTzvl/qxs123XuWrwVZ230JVuX+bGTTzuvRdOz67+hG8Xq1OZRz9rRBi8kIAAAAAAAAAAAAAAAAAAAAAAAAAAAelvWqW1eNejLEovKeOjXR/RmurSjVg6c1lNYfmnuZQm4SUlui2pUnVqOpVm228tt5bfnnuZQhGEVGKwl07Hjk5PLPS6uq95V+Lc1HKWEuZ9XhYWX3eNsvyNdGhToR5Kawst46a6vHbXUynUlN5k9TxNxgXzpVIU41JQaUs4fnjZ/kwU4uTinqt/LJk4tJN9SwzMQAAAAAAAVhGU5qEFlt4SPJNRWXsepNvCK1ISp1HTnHDTw15NdRGSklJbMNNPDLT08Pa6uq93UU7io3hKK8klskl2S8kaaNCnRi401jLbfm3u33bM51JTeZMVLqvUto21So3GDbin+nPXHknjoI0KcakqsViUsZffG2fTIdSTiot6I8TcYAAAAAAAAAAAAAAAAAAAAAAAAAAAAAAAA3uicLXet0HUsLug2vmi5NSj7rk/K2ILiXiChw6fLXpzw9mkmn6Pm+Hhndb2E68cwkvn/BMtZ4LrXXD1tZWcoKpR+ZttJ8yzPfG/jxjbpkpnDvFVOjxC4r1k+SpjGMNrl0jpnH9O+u5L1+GudCEI7x/Xf5IDrWk1NHuf3a4uqUp9405N8vvmKSfp1L/w7iMb6n9WnCUY9HJJZ9NW/fbsQVxbuhLlck35GuJE5wAXVKc6cuWpFp4T38msp/VPJjGcZLMXndfh4f4aweuLW5aZHhdTip1FGVRRT7vOF9k39kYzk4xbSz5LGv5aXyj2Ky8N4Jzw1wReU9To39e4ozpKSnmE2843jjw4fix38yi8Z8WUHbVbaEJxqNOP3JLGdHnVvbJN2nC5qpGo2mt9CvE3BF5V1StqFvXowpSfPmc3HGd5Z8OF4s9zzgviy3jbUrapCcqiXL9qTzjbGudsC74ZOVSVSLSW+vyQarBU6jhGopYfVZw/bKT+6L1Tk5RUmsZ6PGV64bXyyEksPCeSwzPAAAAAAAAAAAAAAAAAAAAAAAAAAAAAAAAAAAbvgyDfEVOq6/JGGZzlzYxGO7y/JvEX7kJ4hl/0+pBQ5pS+2KxnLe2F3Wr8sHbw9fz084S1ft+8E/hxfpOsVKmmULmVNyi406r8Kbawmn1i89M4/wCj5+/DF7Yxp3c4Kai05RWuEn1Wz03xnHpqTi4jRrOVOLxnZ7HJ6sJ06jhVWJJtNPz7/k+swlGUVKOz2/Qq8k02nuWmR4SbTOCdQ1OjG4trmjKnJrMozeV57cuzXkytXvim0s5ypVYyU10a37a52fdElR4ZUqpSi00SXjHg261O/hcaVyJKmoSUnj5do9v5dvois+HvFNC1oSp3beeZtYWf6tX175fuSN9w2VWalTxtj8HPL+0djdO3lXhNrq4PKz5Zxv8AQ+h2twrimqii4p91h/jp7kBVp/Tly5T9DHOg1k74J1S24f0GpfahXlipPFOknly5Vu0u2W8N/wC1FE8S8OrcUvqdvbwX2rMpds7Jvd4Syl5k5w+vG3oOdR7vRehXjTVbbiHh6F7p9eX+nPFSk3hrm6NrviSwn/uZ54b4bW4XfzoXEV90ftl3xuk91lPLXl7i/rxuaCnTez1XqQMvhBgAAAAAAAAAAAAAAAAAAAAAAAAAAAAAAAAAAAFctLCYwMlACrbby2EsaIFACXfs7rwsLutqF3dclGEMS32lKT8Kx+p4Tx3Kj4uoyuaNO2ow5qkpaeSX9Tz0WWs9CW4VJU5SqSeIpfv9Tf6vxFacScN16Om15QqRXNyPZyjF5ljD3TjnK+5AcO4HX4TxGjO5ipQk8ZWqjJ7b7Pmwk/xqd1a7hdUJqm8NfK/+HMj6aVsABtvqwMlU2ujGBkoAAAAAAAAAAAAAAAAAAAAAAAAAAAAAAAAAAAAAAAAAAAV5ny8udvI8ws5GXjAjJxlzReGGk1hhNrYoegAAAAAAAAAAAAAAAAAAAAAAAAAAAAAAAAAAAAAAAAAAAAAAAAAAAAAAAAAAAAAAAAAAAAAAAAAAAAAAAAAAAAAAAAAAAAAAAAAAAAAAAAAAAAAAAAAAAAAAAAAAAAAAAAA//9k="/>
          <p:cNvSpPr>
            <a:spLocks noChangeAspect="1" noChangeArrowheads="1"/>
          </p:cNvSpPr>
          <p:nvPr/>
        </p:nvSpPr>
        <p:spPr bwMode="auto">
          <a:xfrm>
            <a:off x="217805" y="-163722"/>
            <a:ext cx="426720" cy="3454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17539" tIns="58769" rIns="117539" bIns="58769" numCol="1" anchor="t" anchorCtr="0" compatLnSpc="1">
            <a:prstTxWarp prst="textNoShape">
              <a:avLst/>
            </a:prstTxWarp>
          </a:bodyPr>
          <a:lstStyle/>
          <a:p>
            <a:endParaRPr lang="en-US" sz="1400" dirty="0">
              <a:solidFill>
                <a:srgbClr val="002776"/>
              </a:solidFill>
            </a:endParaRPr>
          </a:p>
        </p:txBody>
      </p:sp>
      <p:sp>
        <p:nvSpPr>
          <p:cNvPr id="6" name="AutoShape 8" descr="data:image/jpeg;base64,/9j/4AAQSkZJRgABAQAAAQABAAD/2wCEAAkGBwgHBhUIBwgVFhUWFyAZGRgYFyUfIBwiICEmIhwgKR8kHDQsHCMlHCEnITErJSksOjEuHR8zOj8xNzEwLiwBCgoKDg0OGxAQGjcmICUsLDQ3Njc4LCw3LDcsNDA1LDIuLi8wNC0vNzAvLC0sNjY3NywyLC80NCwuLy43NywsLP/AABEIALcBEwMBEQACEQEDEQH/xAAbAAEAAQUBAAAAAAAAAAAAAAAABgECBAUHA//EADUQAAIBAwIEBAUBBwUAAAAAAAABAgMEEQUhBhIxQSJRYXETMoGRoUIHFBVSgqKxI2JywfH/xAAbAQEAAgMBAQAAAAAAAAAAAAAABQYCAwQBB//EADYRAAIBAwIEBQMCBQMFAAAAAAABAgMEESExBRJBUQZhcYGhEyKRwfAUIzKx0UKS4SVicoLx/9oADAMBAAIRAxEAPwDm5cCEAAAAAAAAAAAAAAAAAAAAAAAAAAAAAAAAAAAAAAAAAAAAAAAAAAAAAAAAAAAAAAAAAAAAAAAAAAAAAAAAAAAAAAAAAAAAAAAAAAAAAAAAAAAAAAAAAAAAAAAAAAAAAAAAAMrUbCvp1wqF1HDcIz+kkn+Onumc1pd07qDnTeicl/tbX6Z9DbVoypS5Zdk/yYp0moAAAAAAAAAAAAAAAAAAAAAAAAAAAAAAAAAAAAAAAAAAAGTcWNa3s6V3UXhq83L/AEvD/JzUrqnUrVKMX90MZ/8AZZRtlSlGEZvZ5+DGOk1AAmnC/D/D2t4cL2qqkcOVKTjvjrh8vij7fgpnG+NcU4dnNKLg9prOnbKzo/h9GyZs7S2r4xJ57Ep4x4f0nUMajql46ShHlcljdZylut3lvCXmVTw7xq+ts2ttT+o5PONdO/ttnJJX1pRqfzKksYOVX6s1dNac5uC6OeMv1wlt7H1a2+u6adxjm/7c4X53+CsVfp838vbzMc6DWeltRnc3EaFJbzkor3bwvya61WNKnKpLaKbfotWZQg5yUV1K3VCdrdTt6vzQk4v3TwzyjVjWpxqQ2kk16PUTg4ScX0PI2mIAAAAAAAAAAAAAAAAAAAAAAAAAAAAAAAAAAABJOGNH0TWWre4v6lOt2i8Yl/xeOvo/yVzjXEuIWCdWnRU6ffXK9V28/wA4JGzt7ev9spNS/v6E/wBW4Wsb3Q6Wn1a7hGgtp7Zwlh5ztv1fsfPuH+IrmhfVbiMOZ1f9OvfTGNdNkTtexpzoxpt4Uepy7W6OlW1z8HSbmdRLrOSST9tt16/+n1Ph1W8q0+e6goN7JZbXr09vz2K1cxowly0m35/4NaSJzEi4Q1Wz0KdXUbmPNPl5KcF3b3k2/wBKWEs+rK9x/h1fiMadrTfLDOZS7Y2SXVvLftq9iQsK8LfmqS1eyRsq/F8Ne0atpusUowlJc1OcflynmMX5dMZ9d8dSMo+GXw28pXVnJuK0knvh6NrbPfHlpnY6ZcRVxSlTqrD6MhZdCGL6Xw/ir4yfLnfHXHpkxnzcr5N/PY9jjP3bHRuD+G9ErXENW07UJ1OR55JJJp4eMrth7r2PnHiHjvEadOdncUVHmWOZNtNZ1w/Pbus6pFhsbO3clVpyzjoV4w4b0WncT1bUdQnT538kUm28JbLq2+v1PPDvHeITpws7eip8vVtrCz1flt3fTIvrKgpOrUljJzit8P4r+Any525uuPXB9Hhzcq59+uNvYr8uXP27FhmYgAAAAAAAAAAAAAAAAAAAAAAAAAAAAAAAAAA2vC9aztdZjeajPEKWZ4xlya+VJefM0/oyK41SuK1nKjbr7p/b2ST/AKm/LGUdVnKEKqnU2Wv+CV0eP6N9cVLTVrNRoVE4px3lFNYef5vpjHqVSp4NnbQhWtKmasGnropNa6dvfOeuCUjxaNSThUWIv96kBqw+HVdPnTw2sro8d16F+hLmipYxn4IKSw2i0yPAAAAAACV8N8QW3DeiTnRgp3FWWy7RjHaPM/fLwu2OhVOMcFq8WvIRm+WjBe8m98eySy+uyepKWl3C1otrWT+PUrxFxDbcSaHF3EFC4pSzjtOL2lyvtvh4fl3POEcEq8JvZKm+ajUXvFrVZ9srK90j26vIXVFZ0kvn0ImWwigAAAAAAAAAAAAAAAAAAAAAAAAAAAAAAAADZ22j1a+gVdWj0pzjH3z832bj92RlbiUKd/Ts3vOMn+NvylL8HTC2cqEqvZr/AJ/Q1hJnMAAAAAAAAAAAAAAAADZ8P6PV1q8lb0esacp/VLwr6yaX3IzivEoWFKNSfWUY/l6v2jlnTa2zrycV0Tf+Pk1hJnMAAAAAAAAAAAAAAAAAAAAAAAAAAAADaaFeaZbXHLrGnKrTfVqUlKPtiSTXo/uRfE7a8rU82dbkmvJNP1ym16r8HTbVKUZYqxyvfJ1+z0nTI6R+421tijNZcd9+b3eU/wDB8eueJXrvPr1J/wA2DxnTTHpp+jLXTt6SpckV9r9evycs4puNFjcSs9F0xQ5XiVSTlltPdKLlsvff2PqvBKHEXTVa9r82VlRSjhZ7tLV+mnqVq9nQUnClDGOupHywHAAAAAAAAAAAAAADIsLijbXKqXNpGrHvCTaz9U8p/f2Oe6o1KtNxp1HCXRpJ49msNfj1RspTjGWZRyjrvCFvorsf4jolm6aqbPLefC+m7ffyPkHiGvxFV/4W9qc3LqsYxr10S6d9i1WMKHJ9SlHGfUifGy4f0iu7W00hOtLxOUpT5Y5745vE/RbL8Fu8NPit9TVetcYpLRJKOXju8aL5fluRfEFbUXyxh93vj+5Bi8kKAAAAAAAAAAAAAAAAAAAAAAAAAAAe1nKjG6jK6i3BSTkl1aT3X1Wxqrqo6UlTeJYePJ9H7GdNxU05bEiueOtZq6mrujUUIrZUuscev8z9dvTBXKPhHh8LZ0Jrmk95f6s+Xb01z1yd8+K13U51ou3T3NNrl5R1HVJ3tClyfE8Tj5Sa8W/dOWX26k1w21na20aE5c3Lon3S/p06YWF7HJc1I1KjnFYz+2YB3GgAAAAAAAAAAAAAAAkdfiy8o6fS07SJulTpJeJfNOXWTfknLLx989Cu0/DtvUuKl1drnnNvR7RWyS7tLCz+MEhLiE4wjTpaJfJi8Q65/Ho069xRUa0E4Sa6SXWL9Gnnb1+h08J4SuGupTpyzTk8pPeL2a81tjr37mu6uv4hRlJfctPU0xMnGAAAAAAAAAAAAAAAAAAAAAAAAAAAAAAAAAAAAAAAAAAAAAAAAAAAAAAAAAAAAAAAAAAAAAAAAAAAAAAMpdWAb+10F1uDqusY3jUWP+C2l/dL+wga3F1T4vTsejg8/wDk9V8Rf+474WmbWVXrn4/b+CP5XmT2DgKgAAAAAAAAAAAAAAAAAAG94N0WOu6pKhUfhjTk2/Jtcsf7nn+kgvEPFXw21VVbuUV7ZzL4TXud1ha/XqOL2w/+DR1IypVHTqrEk8NeTXVfcnIyU4qUdU9TjlFxeGUPTEAAAAAAAAAAAAAAAAAAAAAAAA2/D2v3eiV80YKcG/FTktn7eT9V+SJ4rwijxCniTcZLaS0a9e68vw0ddrdzoS0WV2O1QUORQcEsr5f8/k+JTcudzUm8PfX2/sW9YxjByDi7X7vUr2dnKkqdOE3Hkj3cXjLfff6f5PsXAeEULWjGspOcpJPmfZr/AErp/d/BVb67nUm4Ywk9v8kdLCR4AAAAAAAAAAAAAAAAMiwvbjT7pXNpUxJfVP0afVGi5tqVzTdKqsp+34e6NlKrKnLmjudj4V1J6rosb+tbRpuTaeOjw8ZXll9j4zx6x/g72VvCbmks67rKzh+i1zoW2yrfVpKo1jJGv2h69dafcLTrOhGHPDmdTHieW00tvD03fX2LP4R4TRuaX8VVm5crxy64WMb999Ft69I7il1Ok/pxWMrc5yfRivgAAAAAAAAAAAAAAAAAAAAAAAHvZXH7peQuVTUnCSkk+ja3WfTJpuKP1qUqWccyayt9d8eZnTnyTUsbGRW1rUq2p/xKd5L4q6STxj0S6JenQ5qfC7Snbfwsaa+n27+b6589zbK6qyqfUctTy1S+nqV9K8rQSlLHNjo3jDeO2cZ98m2ytI2lGNGDbjHbPRZ0Xtt6GFaq6s3NrVmKdRqAAAAAAAAAAAAAAAAAANhqGsXd9a07OU+WlTilGC6bfqfnJvfL89sEfa8NoW9WddLM5ttye+vRdktsfnJ0VbmdSKhsl0Goaxd6laU6F9PndPKjN/Nh42b/AFdNm9+vU9tOG0LSrOpQXKp4yumV1S6Zzr0226qtzOrBRnrjqa87znAAAAAAAAAAAAAAAAAAAAAAAAAAAAAAAAAAAAAAAAAAAAAAAAAAAAAAAAAAAAAAAAAAAAAAAAAAAAAAMuz02/voOdlZ1KiWz5It4+3Q5bi+trZpVqijnu0s/k2woVKizCLZKrDhS5nwbXqVrSSrOalCLi+bEPTrlqUvfYql14joR4xRhConS5Wm8rGZee2nLH01JSlYSdpNuP3Z/t+2Re60jUrSj8a7sKkIrvKDS+7RaKHErOvPkpVYyfZNN/BGTt6sFmUWkYR2mkAAAAAAAAAAAAAHtaWlze1fhWlCU5YziKy/sjTXuKVCHPVkoru3hfkzhTlN4issl3BXC1zXv6j1WynCCpSiueLWXNcu2VviOfwVHxH4ho0qEP4WopS54t4aekXnXHdpfJK8PsZSnL6kWlh/JHqvD2s0W1PTKuI5y+R4275x09Sw0+NcPqY5a8cvGnMs69MZ3OCVnXTf2P8ADNYSZzAAAAAAAAAAAAAAAAAAAAAAAAAAAGXpd7e2F9GtptVxqZwsd89mu6b7M5L21t7mi6dxFOPn080+mO5uoValOadN6na/4pZ0LuGn3d3BVpRzy5xl9/bL6JvL9T4k+HXFSlO5o026Sb18v1x1a0XXBcPrwjJU5SXMzkvGN7qFzrtSjqVXPw5uMYraKXbC9Vh56n13w/a2lGxpzto454pt7tvrl+Tyuy6Iq1/VqyrONR7M0ZNnEAAAAAAAAAAAAAC6nUnSqKpSm008pp4afmn2MZwjOLjJZT6PXJ7GTi8o6/oWufA4bo3nEN5GMqnRvZtZxF4Xpu30Se58e4rwj6vEqtDh1NtR3S1SeNcZ89Et29i2W9zy0Izryw2Rf9p19f8A77C0Vf8A0JQU4qPSTzvl/qxs123XuWrwVZ230JVuX+bGTTzuvRdOz67+hG8Xq1OZRz9rRBi8kIAAAAAAAAAAAAAAAAAAAAAAAAAAAelvWqW1eNejLEovKeOjXR/RmurSjVg6c1lNYfmnuZQm4SUlui2pUnVqOpVm228tt5bfnnuZQhGEVGKwl07Hjk5PLPS6uq95V+Lc1HKWEuZ9XhYWX3eNsvyNdGhToR5Kawst46a6vHbXUynUlN5k9TxNxgXzpVIU41JQaUs4fnjZ/kwU4uTinqt/LJk4tJN9SwzMQAAAAAAAVhGU5qEFlt4SPJNRWXsepNvCK1ISp1HTnHDTw15NdRGSklJbMNNPDLT08Pa6uq93UU7io3hKK8klskl2S8kaaNCnRi401jLbfm3u33bM51JTeZMVLqvUto21So3GDbin+nPXHknjoI0KcakqsViUsZffG2fTIdSTiot6I8TcYAAAAAAAAAAAAAAAAAAAAAAAAAAAAAAAA3uicLXet0HUsLug2vmi5NSj7rk/K2ILiXiChw6fLXpzw9mkmn6Pm+Hhndb2E68cwkvn/BMtZ4LrXXD1tZWcoKpR+ZttJ8yzPfG/jxjbpkpnDvFVOjxC4r1k+SpjGMNrl0jpnH9O+u5L1+GudCEI7x/Xf5IDrWk1NHuf3a4uqUp9405N8vvmKSfp1L/w7iMb6n9WnCUY9HJJZ9NW/fbsQVxbuhLlck35GuJE5wAXVKc6cuWpFp4T38msp/VPJjGcZLMXndfh4f4aweuLW5aZHhdTip1FGVRRT7vOF9k39kYzk4xbSz5LGv5aXyj2Ky8N4Jzw1wReU9To39e4ozpKSnmE2843jjw4fix38yi8Z8WUHbVbaEJxqNOP3JLGdHnVvbJN2nC5qpGo2mt9CvE3BF5V1StqFvXowpSfPmc3HGd5Z8OF4s9zzgviy3jbUrapCcqiXL9qTzjbGudsC74ZOVSVSLSW+vyQarBU6jhGopYfVZw/bKT+6L1Tk5RUmsZ6PGV64bXyyEksPCeSwzPAAAAAAAAAAAAAAAAAAAAAAAAAAAAAAAAAAAbvgyDfEVOq6/JGGZzlzYxGO7y/JvEX7kJ4hl/0+pBQ5pS+2KxnLe2F3Wr8sHbw9fz084S1ft+8E/hxfpOsVKmmULmVNyi406r8Kbawmn1i89M4/wCj5+/DF7Yxp3c4Kai05RWuEn1Wz03xnHpqTi4jRrOVOLxnZ7HJ6sJ06jhVWJJtNPz7/k+swlGUVKOz2/Qq8k02nuWmR4SbTOCdQ1OjG4trmjKnJrMozeV57cuzXkytXvim0s5ypVYyU10a37a52fdElR4ZUqpSi00SXjHg261O/hcaVyJKmoSUnj5do9v5dvois+HvFNC1oSp3beeZtYWf6tX175fuSN9w2VWalTxtj8HPL+0djdO3lXhNrq4PKz5Zxv8AQ+h2twrimqii4p91h/jp7kBVp/Tly5T9DHOg1k74J1S24f0GpfahXlipPFOknly5Vu0u2W8N/wC1FE8S8OrcUvqdvbwX2rMpds7Jvd4Syl5k5w+vG3oOdR7vRehXjTVbbiHh6F7p9eX+nPFSk3hrm6NrviSwn/uZ54b4bW4XfzoXEV90ftl3xuk91lPLXl7i/rxuaCnTez1XqQMvhBgAAAAAAAAAAAAAAAAAAAAAAAAAAAAAAAAAAAFctLCYwMlACrbby2EsaIFACXfs7rwsLutqF3dclGEMS32lKT8Kx+p4Tx3Kj4uoyuaNO2ow5qkpaeSX9Tz0WWs9CW4VJU5SqSeIpfv9Tf6vxFacScN16Om15QqRXNyPZyjF5ljD3TjnK+5AcO4HX4TxGjO5ipQk8ZWqjJ7b7Pmwk/xqd1a7hdUJqm8NfK/+HMj6aVsABtvqwMlU2ujGBkoAAAAAAAAAAAAAAAAAAAAAAAAAAAAAAAAAAAAAAAAAAAV5ny8udvI8ws5GXjAjJxlzReGGk1hhNrYoegAAAAAAAAAAAAAAAAAAAAAAAAAAAAAAAAAAAAAAAAAAAAAAAAAAAAAAAAAAAAAAAAAAAAAAAAAAAAAAAAAAAAAAAAAAAAAAAAAAAAAAAAAAAAAAAAAAAAAAAAAAAAAAAAA//9k="/>
          <p:cNvSpPr>
            <a:spLocks noChangeAspect="1" noChangeArrowheads="1"/>
          </p:cNvSpPr>
          <p:nvPr/>
        </p:nvSpPr>
        <p:spPr bwMode="auto">
          <a:xfrm>
            <a:off x="431165" y="8998"/>
            <a:ext cx="426720" cy="3454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17539" tIns="58769" rIns="117539" bIns="58769" numCol="1" anchor="t" anchorCtr="0" compatLnSpc="1">
            <a:prstTxWarp prst="textNoShape">
              <a:avLst/>
            </a:prstTxWarp>
          </a:bodyPr>
          <a:lstStyle/>
          <a:p>
            <a:endParaRPr lang="en-US" sz="1400" dirty="0">
              <a:solidFill>
                <a:srgbClr val="002776"/>
              </a:solidFill>
            </a:endParaRPr>
          </a:p>
        </p:txBody>
      </p:sp>
      <p:sp>
        <p:nvSpPr>
          <p:cNvPr id="14" name="TextBox 13"/>
          <p:cNvSpPr txBox="1"/>
          <p:nvPr/>
        </p:nvSpPr>
        <p:spPr>
          <a:xfrm>
            <a:off x="7959477" y="7377193"/>
            <a:ext cx="4594789" cy="253916"/>
          </a:xfrm>
          <a:prstGeom prst="rect">
            <a:avLst/>
          </a:prstGeom>
          <a:noFill/>
        </p:spPr>
        <p:txBody>
          <a:bodyPr wrap="square" rtlCol="0">
            <a:spAutoFit/>
          </a:bodyPr>
          <a:lstStyle/>
          <a:p>
            <a:pPr>
              <a:spcBef>
                <a:spcPts val="600"/>
              </a:spcBef>
            </a:pPr>
            <a:r>
              <a:rPr lang="en-US" sz="1050" b="0" dirty="0" smtClean="0">
                <a:solidFill>
                  <a:schemeClr val="bg1"/>
                </a:solidFill>
                <a:latin typeface="Verdana" panose="020B0604030504040204" pitchFamily="34" charset="0"/>
                <a:ea typeface="Verdana" panose="020B0604030504040204" pitchFamily="34" charset="0"/>
                <a:cs typeface="Verdana" panose="020B0604030504040204" pitchFamily="34" charset="0"/>
              </a:rPr>
              <a:t>Sources: Deloitte Thought Leadership Materials</a:t>
            </a:r>
          </a:p>
        </p:txBody>
      </p:sp>
      <p:sp>
        <p:nvSpPr>
          <p:cNvPr id="4" name="Title 3"/>
          <p:cNvSpPr>
            <a:spLocks noGrp="1"/>
          </p:cNvSpPr>
          <p:nvPr>
            <p:ph type="title"/>
          </p:nvPr>
        </p:nvSpPr>
        <p:spPr>
          <a:xfrm>
            <a:off x="554508" y="441119"/>
            <a:ext cx="11662258" cy="381195"/>
          </a:xfrm>
        </p:spPr>
        <p:txBody>
          <a:bodyPr/>
          <a:lstStyle/>
          <a:p>
            <a:r>
              <a:rPr lang="en-US" sz="24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Cyber Security is a Rapidly Ascending Board Agenda Item </a:t>
            </a:r>
            <a:endPar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pSp>
        <p:nvGrpSpPr>
          <p:cNvPr id="38" name="Group 37"/>
          <p:cNvGrpSpPr/>
          <p:nvPr/>
        </p:nvGrpSpPr>
        <p:grpSpPr>
          <a:xfrm>
            <a:off x="5871411" y="2808091"/>
            <a:ext cx="5845705" cy="4218351"/>
            <a:chOff x="0" y="0"/>
            <a:chExt cx="4253375" cy="3295587"/>
          </a:xfrm>
        </p:grpSpPr>
        <p:sp>
          <p:nvSpPr>
            <p:cNvPr id="39" name="Shape 21304"/>
            <p:cNvSpPr/>
            <p:nvPr/>
          </p:nvSpPr>
          <p:spPr>
            <a:xfrm>
              <a:off x="1410691" y="1180897"/>
              <a:ext cx="1316266" cy="923163"/>
            </a:xfrm>
            <a:custGeom>
              <a:avLst/>
              <a:gdLst/>
              <a:ahLst/>
              <a:cxnLst/>
              <a:rect l="0" t="0" r="0" b="0"/>
              <a:pathLst>
                <a:path w="1316266" h="923163">
                  <a:moveTo>
                    <a:pt x="0" y="0"/>
                  </a:moveTo>
                  <a:lnTo>
                    <a:pt x="1316266" y="0"/>
                  </a:lnTo>
                  <a:lnTo>
                    <a:pt x="1316266" y="923163"/>
                  </a:lnTo>
                  <a:lnTo>
                    <a:pt x="0" y="923163"/>
                  </a:lnTo>
                  <a:lnTo>
                    <a:pt x="0" y="0"/>
                  </a:lnTo>
                </a:path>
              </a:pathLst>
            </a:custGeom>
            <a:ln w="0" cap="flat">
              <a:miter lim="127000"/>
            </a:ln>
          </p:spPr>
          <p:style>
            <a:lnRef idx="0">
              <a:srgbClr val="000000">
                <a:alpha val="0"/>
              </a:srgbClr>
            </a:lnRef>
            <a:fillRef idx="1">
              <a:srgbClr val="81BB00"/>
            </a:fillRef>
            <a:effectRef idx="0">
              <a:scrgbClr r="0" g="0" b="0"/>
            </a:effectRef>
            <a:fontRef idx="none"/>
          </p:style>
          <p:txBody>
            <a:bodyPr/>
            <a:lstStyle/>
            <a:p>
              <a:pPr algn="l"/>
              <a:endParaRPr lang="en-ZA" sz="1400">
                <a:latin typeface="Verdana" panose="020B0604030504040204" pitchFamily="34" charset="0"/>
                <a:ea typeface="Verdana" panose="020B0604030504040204" pitchFamily="34" charset="0"/>
                <a:cs typeface="Verdana" panose="020B0604030504040204" pitchFamily="34" charset="0"/>
              </a:endParaRPr>
            </a:p>
          </p:txBody>
        </p:sp>
        <p:sp>
          <p:nvSpPr>
            <p:cNvPr id="40" name="Rectangle 39"/>
            <p:cNvSpPr/>
            <p:nvPr/>
          </p:nvSpPr>
          <p:spPr>
            <a:xfrm>
              <a:off x="1467981" y="1550851"/>
              <a:ext cx="1630601" cy="330587"/>
            </a:xfrm>
            <a:prstGeom prst="rect">
              <a:avLst/>
            </a:prstGeom>
            <a:ln>
              <a:noFill/>
            </a:ln>
          </p:spPr>
          <p:txBody>
            <a:bodyPr vert="horz" lIns="0" tIns="0" rIns="0" bIns="0" rtlCol="0">
              <a:noAutofit/>
            </a:bodyPr>
            <a:lstStyle/>
            <a:p>
              <a:pPr marL="0" marR="0" algn="l">
                <a:lnSpc>
                  <a:spcPct val="107000"/>
                </a:lnSpc>
                <a:spcBef>
                  <a:spcPts val="0"/>
                </a:spcBef>
                <a:spcAft>
                  <a:spcPts val="800"/>
                </a:spcAft>
              </a:pPr>
              <a:r>
                <a:rPr lang="en-ZA" sz="1600" b="1"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Cybersecurity </a:t>
              </a:r>
              <a:endParaRPr lang="en-ZA"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41" name="Shape 105"/>
            <p:cNvSpPr/>
            <p:nvPr/>
          </p:nvSpPr>
          <p:spPr>
            <a:xfrm>
              <a:off x="2726966" y="1420575"/>
              <a:ext cx="295618" cy="438467"/>
            </a:xfrm>
            <a:custGeom>
              <a:avLst/>
              <a:gdLst/>
              <a:ahLst/>
              <a:cxnLst/>
              <a:rect l="0" t="0" r="0" b="0"/>
              <a:pathLst>
                <a:path w="295618" h="438467">
                  <a:moveTo>
                    <a:pt x="161607" y="0"/>
                  </a:moveTo>
                  <a:lnTo>
                    <a:pt x="161607" y="110020"/>
                  </a:lnTo>
                  <a:lnTo>
                    <a:pt x="295618" y="110020"/>
                  </a:lnTo>
                  <a:lnTo>
                    <a:pt x="295618" y="328447"/>
                  </a:lnTo>
                  <a:lnTo>
                    <a:pt x="161607" y="328447"/>
                  </a:lnTo>
                  <a:lnTo>
                    <a:pt x="161607" y="438467"/>
                  </a:lnTo>
                  <a:lnTo>
                    <a:pt x="0" y="219227"/>
                  </a:lnTo>
                  <a:lnTo>
                    <a:pt x="161607" y="0"/>
                  </a:lnTo>
                  <a:close/>
                </a:path>
              </a:pathLst>
            </a:custGeom>
            <a:ln w="0" cap="flat">
              <a:miter lim="127000"/>
            </a:ln>
          </p:spPr>
          <p:style>
            <a:lnRef idx="0">
              <a:srgbClr val="000000">
                <a:alpha val="0"/>
              </a:srgbClr>
            </a:lnRef>
            <a:fillRef idx="1">
              <a:srgbClr val="7F7F7F"/>
            </a:fillRef>
            <a:effectRef idx="0">
              <a:scrgbClr r="0" g="0" b="0"/>
            </a:effectRef>
            <a:fontRef idx="none"/>
          </p:style>
          <p:txBody>
            <a:bodyPr/>
            <a:lstStyle/>
            <a:p>
              <a:pPr algn="l"/>
              <a:endParaRPr lang="en-ZA" sz="1400">
                <a:latin typeface="Verdana" panose="020B0604030504040204" pitchFamily="34" charset="0"/>
                <a:ea typeface="Verdana" panose="020B0604030504040204" pitchFamily="34" charset="0"/>
                <a:cs typeface="Verdana" panose="020B0604030504040204" pitchFamily="34" charset="0"/>
              </a:endParaRPr>
            </a:p>
          </p:txBody>
        </p:sp>
        <p:sp>
          <p:nvSpPr>
            <p:cNvPr id="42" name="Shape 106"/>
            <p:cNvSpPr/>
            <p:nvPr/>
          </p:nvSpPr>
          <p:spPr>
            <a:xfrm>
              <a:off x="1888166" y="822156"/>
              <a:ext cx="361328" cy="358737"/>
            </a:xfrm>
            <a:custGeom>
              <a:avLst/>
              <a:gdLst/>
              <a:ahLst/>
              <a:cxnLst/>
              <a:rect l="0" t="0" r="0" b="0"/>
              <a:pathLst>
                <a:path w="361328" h="358737">
                  <a:moveTo>
                    <a:pt x="90665" y="0"/>
                  </a:moveTo>
                  <a:lnTo>
                    <a:pt x="270663" y="0"/>
                  </a:lnTo>
                  <a:lnTo>
                    <a:pt x="270663" y="162623"/>
                  </a:lnTo>
                  <a:lnTo>
                    <a:pt x="361328" y="162623"/>
                  </a:lnTo>
                  <a:lnTo>
                    <a:pt x="180657" y="358737"/>
                  </a:lnTo>
                  <a:lnTo>
                    <a:pt x="0" y="162623"/>
                  </a:lnTo>
                  <a:lnTo>
                    <a:pt x="90665" y="162623"/>
                  </a:lnTo>
                  <a:lnTo>
                    <a:pt x="90665" y="0"/>
                  </a:lnTo>
                  <a:close/>
                </a:path>
              </a:pathLst>
            </a:custGeom>
            <a:ln w="0" cap="flat">
              <a:miter lim="127000"/>
            </a:ln>
          </p:spPr>
          <p:style>
            <a:lnRef idx="0">
              <a:srgbClr val="000000">
                <a:alpha val="0"/>
              </a:srgbClr>
            </a:lnRef>
            <a:fillRef idx="1">
              <a:srgbClr val="7F7F7F"/>
            </a:fillRef>
            <a:effectRef idx="0">
              <a:scrgbClr r="0" g="0" b="0"/>
            </a:effectRef>
            <a:fontRef idx="none"/>
          </p:style>
          <p:txBody>
            <a:bodyPr/>
            <a:lstStyle/>
            <a:p>
              <a:pPr algn="l"/>
              <a:endParaRPr lang="en-ZA" sz="1400">
                <a:latin typeface="Verdana" panose="020B0604030504040204" pitchFamily="34" charset="0"/>
                <a:ea typeface="Verdana" panose="020B0604030504040204" pitchFamily="34" charset="0"/>
                <a:cs typeface="Verdana" panose="020B0604030504040204" pitchFamily="34" charset="0"/>
              </a:endParaRPr>
            </a:p>
          </p:txBody>
        </p:sp>
        <p:sp>
          <p:nvSpPr>
            <p:cNvPr id="43" name="Shape 107"/>
            <p:cNvSpPr/>
            <p:nvPr/>
          </p:nvSpPr>
          <p:spPr>
            <a:xfrm>
              <a:off x="1115060" y="1407934"/>
              <a:ext cx="295631" cy="438467"/>
            </a:xfrm>
            <a:custGeom>
              <a:avLst/>
              <a:gdLst/>
              <a:ahLst/>
              <a:cxnLst/>
              <a:rect l="0" t="0" r="0" b="0"/>
              <a:pathLst>
                <a:path w="295631" h="438467">
                  <a:moveTo>
                    <a:pt x="134023" y="0"/>
                  </a:moveTo>
                  <a:lnTo>
                    <a:pt x="295631" y="219240"/>
                  </a:lnTo>
                  <a:lnTo>
                    <a:pt x="134023" y="438467"/>
                  </a:lnTo>
                  <a:lnTo>
                    <a:pt x="134023" y="328447"/>
                  </a:lnTo>
                  <a:lnTo>
                    <a:pt x="0" y="328447"/>
                  </a:lnTo>
                  <a:lnTo>
                    <a:pt x="0" y="110020"/>
                  </a:lnTo>
                  <a:lnTo>
                    <a:pt x="134023" y="110020"/>
                  </a:lnTo>
                  <a:lnTo>
                    <a:pt x="134023" y="0"/>
                  </a:lnTo>
                  <a:close/>
                </a:path>
              </a:pathLst>
            </a:custGeom>
            <a:ln w="0" cap="flat">
              <a:miter lim="127000"/>
            </a:ln>
          </p:spPr>
          <p:style>
            <a:lnRef idx="0">
              <a:srgbClr val="000000">
                <a:alpha val="0"/>
              </a:srgbClr>
            </a:lnRef>
            <a:fillRef idx="1">
              <a:srgbClr val="7F7F7F"/>
            </a:fillRef>
            <a:effectRef idx="0">
              <a:scrgbClr r="0" g="0" b="0"/>
            </a:effectRef>
            <a:fontRef idx="none"/>
          </p:style>
          <p:txBody>
            <a:bodyPr/>
            <a:lstStyle/>
            <a:p>
              <a:pPr algn="l"/>
              <a:endParaRPr lang="en-ZA" sz="1400">
                <a:latin typeface="Verdana" panose="020B0604030504040204" pitchFamily="34" charset="0"/>
                <a:ea typeface="Verdana" panose="020B0604030504040204" pitchFamily="34" charset="0"/>
                <a:cs typeface="Verdana" panose="020B0604030504040204" pitchFamily="34" charset="0"/>
              </a:endParaRPr>
            </a:p>
          </p:txBody>
        </p:sp>
        <p:sp>
          <p:nvSpPr>
            <p:cNvPr id="44" name="Shape 108"/>
            <p:cNvSpPr/>
            <p:nvPr/>
          </p:nvSpPr>
          <p:spPr>
            <a:xfrm>
              <a:off x="1888162" y="2104054"/>
              <a:ext cx="361328" cy="358737"/>
            </a:xfrm>
            <a:custGeom>
              <a:avLst/>
              <a:gdLst/>
              <a:ahLst/>
              <a:cxnLst/>
              <a:rect l="0" t="0" r="0" b="0"/>
              <a:pathLst>
                <a:path w="361328" h="358737">
                  <a:moveTo>
                    <a:pt x="180670" y="0"/>
                  </a:moveTo>
                  <a:lnTo>
                    <a:pt x="361328" y="196113"/>
                  </a:lnTo>
                  <a:lnTo>
                    <a:pt x="270663" y="196113"/>
                  </a:lnTo>
                  <a:lnTo>
                    <a:pt x="270663" y="358737"/>
                  </a:lnTo>
                  <a:lnTo>
                    <a:pt x="90665" y="358737"/>
                  </a:lnTo>
                  <a:lnTo>
                    <a:pt x="90665" y="196113"/>
                  </a:lnTo>
                  <a:lnTo>
                    <a:pt x="0" y="196113"/>
                  </a:lnTo>
                  <a:lnTo>
                    <a:pt x="180670" y="0"/>
                  </a:lnTo>
                  <a:close/>
                </a:path>
              </a:pathLst>
            </a:custGeom>
            <a:ln w="0" cap="flat">
              <a:miter lim="127000"/>
            </a:ln>
          </p:spPr>
          <p:style>
            <a:lnRef idx="0">
              <a:srgbClr val="000000">
                <a:alpha val="0"/>
              </a:srgbClr>
            </a:lnRef>
            <a:fillRef idx="1">
              <a:srgbClr val="7F7F7F"/>
            </a:fillRef>
            <a:effectRef idx="0">
              <a:scrgbClr r="0" g="0" b="0"/>
            </a:effectRef>
            <a:fontRef idx="none"/>
          </p:style>
          <p:txBody>
            <a:bodyPr/>
            <a:lstStyle/>
            <a:p>
              <a:pPr algn="l"/>
              <a:endParaRPr lang="en-ZA" sz="1400">
                <a:latin typeface="Verdana" panose="020B0604030504040204" pitchFamily="34" charset="0"/>
                <a:ea typeface="Verdana" panose="020B0604030504040204" pitchFamily="34" charset="0"/>
                <a:cs typeface="Verdana" panose="020B0604030504040204" pitchFamily="34" charset="0"/>
              </a:endParaRPr>
            </a:p>
          </p:txBody>
        </p:sp>
        <p:sp>
          <p:nvSpPr>
            <p:cNvPr id="46" name="Shape 21305"/>
            <p:cNvSpPr/>
            <p:nvPr/>
          </p:nvSpPr>
          <p:spPr>
            <a:xfrm>
              <a:off x="1410691" y="0"/>
              <a:ext cx="1316266" cy="923163"/>
            </a:xfrm>
            <a:custGeom>
              <a:avLst/>
              <a:gdLst/>
              <a:ahLst/>
              <a:cxnLst/>
              <a:rect l="0" t="0" r="0" b="0"/>
              <a:pathLst>
                <a:path w="1316266" h="923163">
                  <a:moveTo>
                    <a:pt x="0" y="0"/>
                  </a:moveTo>
                  <a:lnTo>
                    <a:pt x="1316266" y="0"/>
                  </a:lnTo>
                  <a:lnTo>
                    <a:pt x="1316266" y="923163"/>
                  </a:lnTo>
                  <a:lnTo>
                    <a:pt x="0" y="923163"/>
                  </a:lnTo>
                  <a:lnTo>
                    <a:pt x="0" y="0"/>
                  </a:lnTo>
                </a:path>
              </a:pathLst>
            </a:custGeom>
            <a:ln w="0" cap="flat">
              <a:miter lim="127000"/>
            </a:ln>
          </p:spPr>
          <p:style>
            <a:lnRef idx="0">
              <a:srgbClr val="000000">
                <a:alpha val="0"/>
              </a:srgbClr>
            </a:lnRef>
            <a:fillRef idx="1">
              <a:srgbClr val="002776"/>
            </a:fillRef>
            <a:effectRef idx="0">
              <a:scrgbClr r="0" g="0" b="0"/>
            </a:effectRef>
            <a:fontRef idx="none"/>
          </p:style>
          <p:txBody>
            <a:bodyPr/>
            <a:lstStyle/>
            <a:p>
              <a:pPr algn="l"/>
              <a:endParaRPr lang="en-ZA" sz="1400">
                <a:latin typeface="Verdana" panose="020B0604030504040204" pitchFamily="34" charset="0"/>
                <a:ea typeface="Verdana" panose="020B0604030504040204" pitchFamily="34" charset="0"/>
                <a:cs typeface="Verdana" panose="020B0604030504040204" pitchFamily="34" charset="0"/>
              </a:endParaRPr>
            </a:p>
          </p:txBody>
        </p:sp>
        <p:sp>
          <p:nvSpPr>
            <p:cNvPr id="49" name="Rectangle 48"/>
            <p:cNvSpPr/>
            <p:nvPr/>
          </p:nvSpPr>
          <p:spPr>
            <a:xfrm>
              <a:off x="1573685" y="238911"/>
              <a:ext cx="1383586" cy="330587"/>
            </a:xfrm>
            <a:prstGeom prst="rect">
              <a:avLst/>
            </a:prstGeom>
            <a:ln>
              <a:noFill/>
            </a:ln>
          </p:spPr>
          <p:txBody>
            <a:bodyPr vert="horz" lIns="0" tIns="0" rIns="0" bIns="0" rtlCol="0">
              <a:noAutofit/>
            </a:bodyPr>
            <a:lstStyle/>
            <a:p>
              <a:pPr marL="0" marR="0" algn="l">
                <a:lnSpc>
                  <a:spcPct val="107000"/>
                </a:lnSpc>
                <a:spcBef>
                  <a:spcPts val="0"/>
                </a:spcBef>
                <a:spcAft>
                  <a:spcPts val="800"/>
                </a:spcAft>
              </a:pPr>
              <a:r>
                <a:rPr lang="en-ZA" sz="1600" b="1"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Technology </a:t>
              </a:r>
              <a:endParaRPr lang="en-ZA"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51" name="Rectangle 50"/>
            <p:cNvSpPr/>
            <p:nvPr/>
          </p:nvSpPr>
          <p:spPr>
            <a:xfrm>
              <a:off x="1628604" y="452346"/>
              <a:ext cx="1235510" cy="330587"/>
            </a:xfrm>
            <a:prstGeom prst="rect">
              <a:avLst/>
            </a:prstGeom>
            <a:ln>
              <a:noFill/>
            </a:ln>
          </p:spPr>
          <p:txBody>
            <a:bodyPr vert="horz" lIns="0" tIns="0" rIns="0" bIns="0" rtlCol="0">
              <a:noAutofit/>
            </a:bodyPr>
            <a:lstStyle/>
            <a:p>
              <a:pPr marL="0" marR="0" algn="l">
                <a:lnSpc>
                  <a:spcPct val="107000"/>
                </a:lnSpc>
                <a:spcBef>
                  <a:spcPts val="0"/>
                </a:spcBef>
                <a:spcAft>
                  <a:spcPts val="800"/>
                </a:spcAft>
              </a:pPr>
              <a:r>
                <a:rPr lang="en-ZA" sz="1600" b="1">
                  <a:solidFill>
                    <a:srgbClr val="FFFFFF"/>
                  </a:solidFill>
                  <a:effectLst/>
                  <a:latin typeface="Verdana" panose="020B0604030504040204" pitchFamily="34" charset="0"/>
                  <a:ea typeface="Verdana" panose="020B0604030504040204" pitchFamily="34" charset="0"/>
                  <a:cs typeface="Verdana" panose="020B0604030504040204" pitchFamily="34" charset="0"/>
                </a:rPr>
                <a:t>expansion </a:t>
              </a:r>
              <a:endParaRPr lang="en-ZA">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52" name="Shape 21306"/>
            <p:cNvSpPr/>
            <p:nvPr/>
          </p:nvSpPr>
          <p:spPr>
            <a:xfrm>
              <a:off x="2964117" y="1180897"/>
              <a:ext cx="1166761" cy="923163"/>
            </a:xfrm>
            <a:custGeom>
              <a:avLst/>
              <a:gdLst/>
              <a:ahLst/>
              <a:cxnLst/>
              <a:rect l="0" t="0" r="0" b="0"/>
              <a:pathLst>
                <a:path w="1166761" h="923163">
                  <a:moveTo>
                    <a:pt x="0" y="0"/>
                  </a:moveTo>
                  <a:lnTo>
                    <a:pt x="1166761" y="0"/>
                  </a:lnTo>
                  <a:lnTo>
                    <a:pt x="1166761" y="923163"/>
                  </a:lnTo>
                  <a:lnTo>
                    <a:pt x="0" y="923163"/>
                  </a:lnTo>
                  <a:lnTo>
                    <a:pt x="0" y="0"/>
                  </a:lnTo>
                </a:path>
              </a:pathLst>
            </a:custGeom>
            <a:ln w="0" cap="flat">
              <a:miter lim="127000"/>
            </a:ln>
          </p:spPr>
          <p:style>
            <a:lnRef idx="0">
              <a:srgbClr val="000000">
                <a:alpha val="0"/>
              </a:srgbClr>
            </a:lnRef>
            <a:fillRef idx="1">
              <a:srgbClr val="002776"/>
            </a:fillRef>
            <a:effectRef idx="0">
              <a:scrgbClr r="0" g="0" b="0"/>
            </a:effectRef>
            <a:fontRef idx="none"/>
          </p:style>
          <p:txBody>
            <a:bodyPr/>
            <a:lstStyle/>
            <a:p>
              <a:pPr algn="l"/>
              <a:endParaRPr lang="en-ZA" sz="1400">
                <a:latin typeface="Verdana" panose="020B0604030504040204" pitchFamily="34" charset="0"/>
                <a:ea typeface="Verdana" panose="020B0604030504040204" pitchFamily="34" charset="0"/>
                <a:cs typeface="Verdana" panose="020B0604030504040204" pitchFamily="34" charset="0"/>
              </a:endParaRPr>
            </a:p>
          </p:txBody>
        </p:sp>
        <p:sp>
          <p:nvSpPr>
            <p:cNvPr id="53" name="Rectangle 52"/>
            <p:cNvSpPr/>
            <p:nvPr/>
          </p:nvSpPr>
          <p:spPr>
            <a:xfrm>
              <a:off x="3177256" y="1313128"/>
              <a:ext cx="1049103" cy="330586"/>
            </a:xfrm>
            <a:prstGeom prst="rect">
              <a:avLst/>
            </a:prstGeom>
            <a:ln>
              <a:noFill/>
            </a:ln>
          </p:spPr>
          <p:txBody>
            <a:bodyPr vert="horz" lIns="0" tIns="0" rIns="0" bIns="0" rtlCol="0">
              <a:noAutofit/>
            </a:bodyPr>
            <a:lstStyle/>
            <a:p>
              <a:pPr marL="0" marR="0" algn="l">
                <a:lnSpc>
                  <a:spcPct val="107000"/>
                </a:lnSpc>
                <a:spcBef>
                  <a:spcPts val="0"/>
                </a:spcBef>
                <a:spcAft>
                  <a:spcPts val="800"/>
                </a:spcAft>
              </a:pPr>
              <a:r>
                <a:rPr lang="en-ZA" sz="1600" b="1">
                  <a:solidFill>
                    <a:srgbClr val="FFFFFF"/>
                  </a:solidFill>
                  <a:effectLst/>
                  <a:latin typeface="Verdana" panose="020B0604030504040204" pitchFamily="34" charset="0"/>
                  <a:ea typeface="Verdana" panose="020B0604030504040204" pitchFamily="34" charset="0"/>
                  <a:cs typeface="Verdana" panose="020B0604030504040204" pitchFamily="34" charset="0"/>
                </a:rPr>
                <a:t>Evolving </a:t>
              </a:r>
              <a:endParaRPr lang="en-ZA">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54" name="Rectangle 53"/>
            <p:cNvSpPr/>
            <p:nvPr/>
          </p:nvSpPr>
          <p:spPr>
            <a:xfrm>
              <a:off x="3162099" y="1526562"/>
              <a:ext cx="1091276" cy="330587"/>
            </a:xfrm>
            <a:prstGeom prst="rect">
              <a:avLst/>
            </a:prstGeom>
            <a:ln>
              <a:noFill/>
            </a:ln>
          </p:spPr>
          <p:txBody>
            <a:bodyPr vert="horz" lIns="0" tIns="0" rIns="0" bIns="0" rtlCol="0">
              <a:noAutofit/>
            </a:bodyPr>
            <a:lstStyle/>
            <a:p>
              <a:pPr marL="0" marR="0" algn="l">
                <a:lnSpc>
                  <a:spcPct val="107000"/>
                </a:lnSpc>
                <a:spcBef>
                  <a:spcPts val="0"/>
                </a:spcBef>
                <a:spcAft>
                  <a:spcPts val="800"/>
                </a:spcAft>
              </a:pPr>
              <a:r>
                <a:rPr lang="en-ZA" sz="1600" b="1">
                  <a:solidFill>
                    <a:srgbClr val="FFFFFF"/>
                  </a:solidFill>
                  <a:effectLst/>
                  <a:latin typeface="Verdana" panose="020B0604030504040204" pitchFamily="34" charset="0"/>
                  <a:ea typeface="Verdana" panose="020B0604030504040204" pitchFamily="34" charset="0"/>
                  <a:cs typeface="Verdana" panose="020B0604030504040204" pitchFamily="34" charset="0"/>
                </a:rPr>
                <a:t>business </a:t>
              </a:r>
              <a:endParaRPr lang="en-ZA">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55" name="Rectangle 54"/>
            <p:cNvSpPr/>
            <p:nvPr/>
          </p:nvSpPr>
          <p:spPr>
            <a:xfrm>
              <a:off x="3235206" y="1739997"/>
              <a:ext cx="894963" cy="330586"/>
            </a:xfrm>
            <a:prstGeom prst="rect">
              <a:avLst/>
            </a:prstGeom>
            <a:ln>
              <a:noFill/>
            </a:ln>
          </p:spPr>
          <p:txBody>
            <a:bodyPr vert="horz" lIns="0" tIns="0" rIns="0" bIns="0" rtlCol="0">
              <a:noAutofit/>
            </a:bodyPr>
            <a:lstStyle/>
            <a:p>
              <a:pPr marL="0" marR="0" algn="l">
                <a:lnSpc>
                  <a:spcPct val="107000"/>
                </a:lnSpc>
                <a:spcBef>
                  <a:spcPts val="0"/>
                </a:spcBef>
                <a:spcAft>
                  <a:spcPts val="800"/>
                </a:spcAft>
              </a:pPr>
              <a:r>
                <a:rPr lang="en-ZA" sz="1600" b="1">
                  <a:solidFill>
                    <a:srgbClr val="FFFFFF"/>
                  </a:solidFill>
                  <a:effectLst/>
                  <a:latin typeface="Verdana" panose="020B0604030504040204" pitchFamily="34" charset="0"/>
                  <a:ea typeface="Verdana" panose="020B0604030504040204" pitchFamily="34" charset="0"/>
                  <a:cs typeface="Verdana" panose="020B0604030504040204" pitchFamily="34" charset="0"/>
                </a:rPr>
                <a:t>models </a:t>
              </a:r>
              <a:endParaRPr lang="en-ZA">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57" name="Shape 21307"/>
            <p:cNvSpPr/>
            <p:nvPr/>
          </p:nvSpPr>
          <p:spPr>
            <a:xfrm>
              <a:off x="0" y="1180897"/>
              <a:ext cx="1168222" cy="923163"/>
            </a:xfrm>
            <a:custGeom>
              <a:avLst/>
              <a:gdLst/>
              <a:ahLst/>
              <a:cxnLst/>
              <a:rect l="0" t="0" r="0" b="0"/>
              <a:pathLst>
                <a:path w="1168222" h="923163">
                  <a:moveTo>
                    <a:pt x="0" y="0"/>
                  </a:moveTo>
                  <a:lnTo>
                    <a:pt x="1168222" y="0"/>
                  </a:lnTo>
                  <a:lnTo>
                    <a:pt x="1168222" y="923163"/>
                  </a:lnTo>
                  <a:lnTo>
                    <a:pt x="0" y="923163"/>
                  </a:lnTo>
                  <a:lnTo>
                    <a:pt x="0" y="0"/>
                  </a:lnTo>
                </a:path>
              </a:pathLst>
            </a:custGeom>
            <a:ln w="0" cap="flat">
              <a:miter lim="127000"/>
            </a:ln>
          </p:spPr>
          <p:style>
            <a:lnRef idx="0">
              <a:srgbClr val="000000">
                <a:alpha val="0"/>
              </a:srgbClr>
            </a:lnRef>
            <a:fillRef idx="1">
              <a:srgbClr val="002776"/>
            </a:fillRef>
            <a:effectRef idx="0">
              <a:scrgbClr r="0" g="0" b="0"/>
            </a:effectRef>
            <a:fontRef idx="none"/>
          </p:style>
          <p:txBody>
            <a:bodyPr/>
            <a:lstStyle/>
            <a:p>
              <a:pPr algn="l"/>
              <a:endParaRPr lang="en-ZA" sz="1400">
                <a:latin typeface="Verdana" panose="020B0604030504040204" pitchFamily="34" charset="0"/>
                <a:ea typeface="Verdana" panose="020B0604030504040204" pitchFamily="34" charset="0"/>
                <a:cs typeface="Verdana" panose="020B0604030504040204" pitchFamily="34" charset="0"/>
              </a:endParaRPr>
            </a:p>
          </p:txBody>
        </p:sp>
        <p:sp>
          <p:nvSpPr>
            <p:cNvPr id="59" name="Rectangle 58"/>
            <p:cNvSpPr/>
            <p:nvPr/>
          </p:nvSpPr>
          <p:spPr>
            <a:xfrm>
              <a:off x="69986" y="1526488"/>
              <a:ext cx="1434171" cy="330587"/>
            </a:xfrm>
            <a:prstGeom prst="rect">
              <a:avLst/>
            </a:prstGeom>
            <a:ln>
              <a:noFill/>
            </a:ln>
          </p:spPr>
          <p:txBody>
            <a:bodyPr vert="horz" lIns="0" tIns="0" rIns="0" bIns="0" rtlCol="0">
              <a:noAutofit/>
            </a:bodyPr>
            <a:lstStyle/>
            <a:p>
              <a:pPr marL="0" marR="0" algn="l">
                <a:lnSpc>
                  <a:spcPct val="107000"/>
                </a:lnSpc>
                <a:spcBef>
                  <a:spcPts val="0"/>
                </a:spcBef>
                <a:spcAft>
                  <a:spcPts val="800"/>
                </a:spcAft>
              </a:pPr>
              <a:r>
                <a:rPr lang="en-ZA" sz="1600" b="1">
                  <a:solidFill>
                    <a:srgbClr val="FFFFFF"/>
                  </a:solidFill>
                  <a:effectLst/>
                  <a:latin typeface="Verdana" panose="020B0604030504040204" pitchFamily="34" charset="0"/>
                  <a:ea typeface="Verdana" panose="020B0604030504040204" pitchFamily="34" charset="0"/>
                  <a:cs typeface="Verdana" panose="020B0604030504040204" pitchFamily="34" charset="0"/>
                </a:rPr>
                <a:t>Data growth </a:t>
              </a:r>
              <a:endParaRPr lang="en-ZA">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60" name="Shape 21308"/>
            <p:cNvSpPr/>
            <p:nvPr/>
          </p:nvSpPr>
          <p:spPr>
            <a:xfrm>
              <a:off x="1410691" y="2372424"/>
              <a:ext cx="1316266" cy="923163"/>
            </a:xfrm>
            <a:custGeom>
              <a:avLst/>
              <a:gdLst/>
              <a:ahLst/>
              <a:cxnLst/>
              <a:rect l="0" t="0" r="0" b="0"/>
              <a:pathLst>
                <a:path w="1316266" h="923163">
                  <a:moveTo>
                    <a:pt x="0" y="0"/>
                  </a:moveTo>
                  <a:lnTo>
                    <a:pt x="1316266" y="0"/>
                  </a:lnTo>
                  <a:lnTo>
                    <a:pt x="1316266" y="923163"/>
                  </a:lnTo>
                  <a:lnTo>
                    <a:pt x="0" y="923163"/>
                  </a:lnTo>
                  <a:lnTo>
                    <a:pt x="0" y="0"/>
                  </a:lnTo>
                </a:path>
              </a:pathLst>
            </a:custGeom>
            <a:ln w="0" cap="flat">
              <a:miter lim="127000"/>
            </a:ln>
          </p:spPr>
          <p:style>
            <a:lnRef idx="0">
              <a:srgbClr val="000000">
                <a:alpha val="0"/>
              </a:srgbClr>
            </a:lnRef>
            <a:fillRef idx="1">
              <a:srgbClr val="002776"/>
            </a:fillRef>
            <a:effectRef idx="0">
              <a:scrgbClr r="0" g="0" b="0"/>
            </a:effectRef>
            <a:fontRef idx="none"/>
          </p:style>
          <p:txBody>
            <a:bodyPr/>
            <a:lstStyle/>
            <a:p>
              <a:pPr algn="l"/>
              <a:endParaRPr lang="en-ZA" sz="1400">
                <a:latin typeface="Verdana" panose="020B0604030504040204" pitchFamily="34" charset="0"/>
                <a:ea typeface="Verdana" panose="020B0604030504040204" pitchFamily="34" charset="0"/>
                <a:cs typeface="Verdana" panose="020B0604030504040204" pitchFamily="34" charset="0"/>
              </a:endParaRPr>
            </a:p>
          </p:txBody>
        </p:sp>
        <p:sp>
          <p:nvSpPr>
            <p:cNvPr id="61" name="Rectangle 60"/>
            <p:cNvSpPr/>
            <p:nvPr/>
          </p:nvSpPr>
          <p:spPr>
            <a:xfrm>
              <a:off x="1652902" y="2611338"/>
              <a:ext cx="1170689" cy="330586"/>
            </a:xfrm>
            <a:prstGeom prst="rect">
              <a:avLst/>
            </a:prstGeom>
            <a:ln>
              <a:noFill/>
            </a:ln>
          </p:spPr>
          <p:txBody>
            <a:bodyPr vert="horz" lIns="0" tIns="0" rIns="0" bIns="0" rtlCol="0">
              <a:noAutofit/>
            </a:bodyPr>
            <a:lstStyle/>
            <a:p>
              <a:pPr marL="0" marR="0" algn="l">
                <a:lnSpc>
                  <a:spcPct val="107000"/>
                </a:lnSpc>
                <a:spcBef>
                  <a:spcPts val="0"/>
                </a:spcBef>
                <a:spcAft>
                  <a:spcPts val="800"/>
                </a:spcAft>
              </a:pPr>
              <a:r>
                <a:rPr lang="en-ZA" sz="1600" b="1">
                  <a:solidFill>
                    <a:srgbClr val="FFFFFF"/>
                  </a:solidFill>
                  <a:effectLst/>
                  <a:latin typeface="Verdana" panose="020B0604030504040204" pitchFamily="34" charset="0"/>
                  <a:ea typeface="Verdana" panose="020B0604030504040204" pitchFamily="34" charset="0"/>
                  <a:cs typeface="Verdana" panose="020B0604030504040204" pitchFamily="34" charset="0"/>
                </a:rPr>
                <a:t>Motivated </a:t>
              </a:r>
              <a:endParaRPr lang="en-ZA">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62" name="Rectangle 61"/>
            <p:cNvSpPr/>
            <p:nvPr/>
          </p:nvSpPr>
          <p:spPr>
            <a:xfrm>
              <a:off x="1677331" y="2824773"/>
              <a:ext cx="1105789" cy="330587"/>
            </a:xfrm>
            <a:prstGeom prst="rect">
              <a:avLst/>
            </a:prstGeom>
            <a:ln>
              <a:noFill/>
            </a:ln>
          </p:spPr>
          <p:txBody>
            <a:bodyPr vert="horz" lIns="0" tIns="0" rIns="0" bIns="0" rtlCol="0">
              <a:noAutofit/>
            </a:bodyPr>
            <a:lstStyle/>
            <a:p>
              <a:pPr marL="0" marR="0" algn="l">
                <a:lnSpc>
                  <a:spcPct val="107000"/>
                </a:lnSpc>
                <a:spcBef>
                  <a:spcPts val="0"/>
                </a:spcBef>
                <a:spcAft>
                  <a:spcPts val="800"/>
                </a:spcAft>
              </a:pPr>
              <a:r>
                <a:rPr lang="en-ZA" sz="1600" b="1">
                  <a:solidFill>
                    <a:srgbClr val="FFFFFF"/>
                  </a:solidFill>
                  <a:effectLst/>
                  <a:latin typeface="Verdana" panose="020B0604030504040204" pitchFamily="34" charset="0"/>
                  <a:ea typeface="Verdana" panose="020B0604030504040204" pitchFamily="34" charset="0"/>
                  <a:cs typeface="Verdana" panose="020B0604030504040204" pitchFamily="34" charset="0"/>
                </a:rPr>
                <a:t>attackers </a:t>
              </a:r>
              <a:endParaRPr lang="en-ZA">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p:txBody>
        </p:sp>
      </p:grpSp>
      <p:sp>
        <p:nvSpPr>
          <p:cNvPr id="7" name="Rectangle 6"/>
          <p:cNvSpPr/>
          <p:nvPr/>
        </p:nvSpPr>
        <p:spPr>
          <a:xfrm>
            <a:off x="552338" y="2713741"/>
            <a:ext cx="6400800" cy="4712059"/>
          </a:xfrm>
          <a:prstGeom prst="rect">
            <a:avLst/>
          </a:prstGeom>
        </p:spPr>
        <p:txBody>
          <a:bodyPr>
            <a:spAutoFit/>
          </a:bodyPr>
          <a:lstStyle/>
          <a:p>
            <a:pPr marL="10160" marR="830580" indent="-6350" algn="l">
              <a:lnSpc>
                <a:spcPct val="108000"/>
              </a:lnSpc>
              <a:spcBef>
                <a:spcPts val="0"/>
              </a:spcBef>
              <a:spcAft>
                <a:spcPts val="870"/>
              </a:spcAft>
            </a:pPr>
            <a:r>
              <a:rPr lang="en-ZA" sz="1800" dirty="0">
                <a:solidFill>
                  <a:schemeClr val="bg1"/>
                </a:solidFill>
                <a:latin typeface="Verdana" panose="020B0604030504040204" pitchFamily="34" charset="0"/>
                <a:ea typeface="Verdana" panose="020B0604030504040204" pitchFamily="34" charset="0"/>
                <a:cs typeface="Verdana" panose="020B0604030504040204" pitchFamily="34" charset="0"/>
              </a:rPr>
              <a:t>The forces driving growth and efficiency may create a broad  attack </a:t>
            </a:r>
            <a:r>
              <a:rPr lang="en-ZA" sz="18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surface</a:t>
            </a:r>
          </a:p>
          <a:p>
            <a:pPr marL="10160" marR="830580" indent="-6350" algn="l">
              <a:lnSpc>
                <a:spcPct val="108000"/>
              </a:lnSpc>
              <a:spcBef>
                <a:spcPts val="0"/>
              </a:spcBef>
              <a:spcAft>
                <a:spcPts val="870"/>
              </a:spcAft>
            </a:pPr>
            <a:endParaRPr lang="en-ZA" sz="18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289560" marR="830580" indent="-285750" algn="l">
              <a:lnSpc>
                <a:spcPct val="108000"/>
              </a:lnSpc>
              <a:spcBef>
                <a:spcPts val="0"/>
              </a:spcBef>
              <a:spcAft>
                <a:spcPts val="870"/>
              </a:spcAft>
              <a:buFont typeface="Wingdings" panose="05000000000000000000" pitchFamily="2" charset="2"/>
              <a:buChar char="Ø"/>
            </a:pPr>
            <a:r>
              <a:rPr lang="en-ZA" sz="18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Technology becomes more pervasive </a:t>
            </a:r>
          </a:p>
          <a:p>
            <a:pPr marL="289560" marR="830580" indent="-285750" algn="l">
              <a:lnSpc>
                <a:spcPct val="108000"/>
              </a:lnSpc>
              <a:spcBef>
                <a:spcPts val="0"/>
              </a:spcBef>
              <a:spcAft>
                <a:spcPts val="870"/>
              </a:spcAft>
              <a:buFont typeface="Wingdings" panose="05000000000000000000" pitchFamily="2" charset="2"/>
              <a:buChar char="Ø"/>
            </a:pPr>
            <a:endParaRPr lang="en-US" sz="18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289560" marR="830580" indent="-285750" algn="l">
              <a:lnSpc>
                <a:spcPct val="108000"/>
              </a:lnSpc>
              <a:spcBef>
                <a:spcPts val="0"/>
              </a:spcBef>
              <a:spcAft>
                <a:spcPts val="870"/>
              </a:spcAft>
              <a:buFont typeface="Wingdings" panose="05000000000000000000" pitchFamily="2" charset="2"/>
              <a:buChar char="Ø"/>
            </a:pPr>
            <a:r>
              <a:rPr lang="en-US" sz="18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Changing business models</a:t>
            </a:r>
          </a:p>
          <a:p>
            <a:pPr marL="289560" marR="830580" indent="-285750" algn="l">
              <a:lnSpc>
                <a:spcPct val="108000"/>
              </a:lnSpc>
              <a:spcBef>
                <a:spcPts val="0"/>
              </a:spcBef>
              <a:spcAft>
                <a:spcPts val="870"/>
              </a:spcAft>
              <a:buFont typeface="Wingdings" panose="05000000000000000000" pitchFamily="2" charset="2"/>
              <a:buChar char="Ø"/>
            </a:pPr>
            <a:endParaRPr lang="en-US" sz="18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289560" marR="830580" indent="-285750" algn="l">
              <a:lnSpc>
                <a:spcPct val="108000"/>
              </a:lnSpc>
              <a:spcBef>
                <a:spcPts val="0"/>
              </a:spcBef>
              <a:spcAft>
                <a:spcPts val="870"/>
              </a:spcAft>
              <a:buFont typeface="Wingdings" panose="05000000000000000000" pitchFamily="2" charset="2"/>
              <a:buChar char="Ø"/>
            </a:pPr>
            <a:r>
              <a:rPr lang="en-US" sz="18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More data to protect</a:t>
            </a:r>
          </a:p>
          <a:p>
            <a:pPr marL="289560" marR="830580" indent="-285750" algn="l">
              <a:lnSpc>
                <a:spcPct val="108000"/>
              </a:lnSpc>
              <a:spcBef>
                <a:spcPts val="0"/>
              </a:spcBef>
              <a:spcAft>
                <a:spcPts val="870"/>
              </a:spcAft>
              <a:buFont typeface="Wingdings" panose="05000000000000000000" pitchFamily="2" charset="2"/>
              <a:buChar char="Ø"/>
            </a:pPr>
            <a:endParaRPr lang="en-US" sz="18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289560" marR="830580" indent="-285750" algn="l">
              <a:lnSpc>
                <a:spcPct val="108000"/>
              </a:lnSpc>
              <a:spcBef>
                <a:spcPts val="0"/>
              </a:spcBef>
              <a:spcAft>
                <a:spcPts val="870"/>
              </a:spcAft>
              <a:buFont typeface="Wingdings" panose="05000000000000000000" pitchFamily="2" charset="2"/>
              <a:buChar char="Ø"/>
            </a:pPr>
            <a:r>
              <a:rPr lang="en-US" sz="18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Threat actors with varying motives</a:t>
            </a:r>
            <a:endParaRPr lang="en-ZA" sz="1800"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289560" marR="830580" indent="-285750" algn="l">
              <a:lnSpc>
                <a:spcPct val="108000"/>
              </a:lnSpc>
              <a:spcBef>
                <a:spcPts val="0"/>
              </a:spcBef>
              <a:spcAft>
                <a:spcPts val="870"/>
              </a:spcAft>
              <a:buFont typeface="Wingdings" panose="05000000000000000000" pitchFamily="2" charset="2"/>
              <a:buChar char="Ø"/>
            </a:pPr>
            <a:endParaRPr lang="en-ZA" sz="18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289560" marR="830580" indent="-285750" algn="l">
              <a:lnSpc>
                <a:spcPct val="108000"/>
              </a:lnSpc>
              <a:spcBef>
                <a:spcPts val="0"/>
              </a:spcBef>
              <a:spcAft>
                <a:spcPts val="870"/>
              </a:spcAft>
              <a:buFont typeface="Wingdings" panose="05000000000000000000" pitchFamily="2" charset="2"/>
              <a:buChar char="Ø"/>
            </a:pPr>
            <a:endParaRPr lang="en-ZA" sz="105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2316544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554508" y="1302494"/>
            <a:ext cx="3026892" cy="4370427"/>
          </a:xfrm>
        </p:spPr>
        <p:txBody>
          <a:bodyPr/>
          <a:lstStyle/>
          <a:p>
            <a:r>
              <a:rPr lang="en-US" sz="1600" i="1" dirty="0" smtClean="0">
                <a:latin typeface="Verdana" panose="020B0604030504040204" pitchFamily="34" charset="0"/>
                <a:ea typeface="Verdana" panose="020B0604030504040204" pitchFamily="34" charset="0"/>
                <a:cs typeface="Verdana" panose="020B0604030504040204" pitchFamily="34" charset="0"/>
              </a:rPr>
              <a:t>Cyber Attacks top the list of man-made attacks, closely following natural disasters. The survey was conducted with respondents worldwide who assessed the potential risks for their impact and likelihood over a 10 year period. </a:t>
            </a:r>
          </a:p>
          <a:p>
            <a:r>
              <a:rPr lang="en-US" sz="1100" i="1" dirty="0" smtClean="0">
                <a:solidFill>
                  <a:schemeClr val="bg1"/>
                </a:solidFill>
                <a:latin typeface="Verdana" panose="020B0604030504040204" pitchFamily="34" charset="0"/>
                <a:ea typeface="Verdana" panose="020B0604030504040204" pitchFamily="34" charset="0"/>
                <a:cs typeface="Verdana" panose="020B0604030504040204" pitchFamily="34" charset="0"/>
              </a:rPr>
              <a:t>Source</a:t>
            </a:r>
            <a:r>
              <a:rPr lang="en-US" sz="1100" i="1" dirty="0">
                <a:solidFill>
                  <a:schemeClr val="bg1"/>
                </a:solidFill>
                <a:latin typeface="Verdana" panose="020B0604030504040204" pitchFamily="34" charset="0"/>
                <a:ea typeface="Verdana" panose="020B0604030504040204" pitchFamily="34" charset="0"/>
                <a:cs typeface="Verdana" panose="020B0604030504040204" pitchFamily="34" charset="0"/>
              </a:rPr>
              <a:t>: </a:t>
            </a:r>
            <a:r>
              <a:rPr lang="en-ZA" sz="1100" i="1" dirty="0">
                <a:solidFill>
                  <a:schemeClr val="bg1"/>
                </a:solidFill>
                <a:latin typeface="Verdana" panose="020B0604030504040204" pitchFamily="34" charset="0"/>
                <a:ea typeface="Verdana" panose="020B0604030504040204" pitchFamily="34" charset="0"/>
                <a:cs typeface="Verdana" panose="020B0604030504040204" pitchFamily="34" charset="0"/>
              </a:rPr>
              <a:t>World Economic Forum Global Risks Perception Survey 2017–2018.</a:t>
            </a:r>
            <a:endParaRPr lang="en-US" sz="1100" i="1"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en-US" sz="1600" i="1" dirty="0">
              <a:latin typeface="Verdana" panose="020B0604030504040204" pitchFamily="34" charset="0"/>
              <a:ea typeface="Verdana" panose="020B0604030504040204" pitchFamily="34" charset="0"/>
              <a:cs typeface="Verdana" panose="020B0604030504040204" pitchFamily="34" charset="0"/>
            </a:endParaRPr>
          </a:p>
          <a:p>
            <a:endParaRPr lang="en-ZA" sz="1600" i="1" dirty="0">
              <a:latin typeface="Verdana" panose="020B0604030504040204" pitchFamily="34" charset="0"/>
              <a:ea typeface="Verdana" panose="020B0604030504040204" pitchFamily="34" charset="0"/>
              <a:cs typeface="Verdana" panose="020B0604030504040204" pitchFamily="34" charset="0"/>
            </a:endParaRPr>
          </a:p>
        </p:txBody>
      </p:sp>
      <p:sp>
        <p:nvSpPr>
          <p:cNvPr id="5" name="AutoShape 6" descr="data:image/jpeg;base64,/9j/4AAQSkZJRgABAQAAAQABAAD/2wCEAAkGBwgHBhUIBwgVFhUWFyAZGRgYFyUfIBwiICEmIhwgKR8kHDQsHCMlHCEnITErJSksOjEuHR8zOj8xNzEwLiwBCgoKDg0OGxAQGjcmICUsLDQ3Njc4LCw3LDcsNDA1LDIuLi8wNC0vNzAvLC0sNjY3NywyLC80NCwuLy43NywsLP/AABEIALcBEwMBEQACEQEDEQH/xAAbAAEAAQUBAAAAAAAAAAAAAAAABgECBAUHA//EADUQAAIBAwIEBAUBBwUAAAAAAAABAgMEEQUhBhIxQSJRYXETMoGRoUIHFBVSgqKxI2JywfH/xAAbAQEAAgMBAQAAAAAAAAAAAAAABQYCAwQBB//EADYRAAIBAwIEBQMCBQMFAAAAAAABAgMEESExBRJBUQZhcYGhEyKRwfAUIzKx0UKS4SVicoLx/9oADAMBAAIRAxEAPwDm5cCEAAAAAAAAAAAAAAAAAAAAAAAAAAAAAAAAAAAAAAAAAAAAAAAAAAAAAAAAAAAAAAAAAAAAAAAAAAAAAAAAAAAAAAAAAAAAAAAAAAAAAAAAAAAAAAAAAAAAAAAAAAAAAAAAAMrUbCvp1wqF1HDcIz+kkn+Onumc1pd07qDnTeicl/tbX6Z9DbVoypS5Zdk/yYp0moAAAAAAAAAAAAAAAAAAAAAAAAAAAAAAAAAAAAAAAAAAAGTcWNa3s6V3UXhq83L/AEvD/JzUrqnUrVKMX90MZ/8AZZRtlSlGEZvZ5+DGOk1AAmnC/D/D2t4cL2qqkcOVKTjvjrh8vij7fgpnG+NcU4dnNKLg9prOnbKzo/h9GyZs7S2r4xJ57Ep4x4f0nUMajql46ShHlcljdZylut3lvCXmVTw7xq+ts2ttT+o5PONdO/ttnJJX1pRqfzKksYOVX6s1dNac5uC6OeMv1wlt7H1a2+u6adxjm/7c4X53+CsVfp838vbzMc6DWeltRnc3EaFJbzkor3bwvya61WNKnKpLaKbfotWZQg5yUV1K3VCdrdTt6vzQk4v3TwzyjVjWpxqQ2kk16PUTg4ScX0PI2mIAAAAAAAAAAAAAAAAAAAAAAAAAAAAAAAAAAABJOGNH0TWWre4v6lOt2i8Yl/xeOvo/yVzjXEuIWCdWnRU6ffXK9V28/wA4JGzt7ev9spNS/v6E/wBW4Wsb3Q6Wn1a7hGgtp7Zwlh5ztv1fsfPuH+IrmhfVbiMOZ1f9OvfTGNdNkTtexpzoxpt4Uepy7W6OlW1z8HSbmdRLrOSST9tt16/+n1Ph1W8q0+e6goN7JZbXr09vz2K1cxowly0m35/4NaSJzEi4Q1Wz0KdXUbmPNPl5KcF3b3k2/wBKWEs+rK9x/h1fiMadrTfLDOZS7Y2SXVvLftq9iQsK8LfmqS1eyRsq/F8Ne0atpusUowlJc1OcflynmMX5dMZ9d8dSMo+GXw28pXVnJuK0knvh6NrbPfHlpnY6ZcRVxSlTqrD6MhZdCGL6Xw/ir4yfLnfHXHpkxnzcr5N/PY9jjP3bHRuD+G9ErXENW07UJ1OR55JJJp4eMrth7r2PnHiHjvEadOdncUVHmWOZNtNZ1w/Pbus6pFhsbO3clVpyzjoV4w4b0WncT1bUdQnT538kUm28JbLq2+v1PPDvHeITpws7eip8vVtrCz1flt3fTIvrKgpOrUljJzit8P4r+Any525uuPXB9Hhzcq59+uNvYr8uXP27FhmYgAAAAAAAAAAAAAAAAAAAAAAAAAAAAAAAAAA2vC9aztdZjeajPEKWZ4xlya+VJefM0/oyK41SuK1nKjbr7p/b2ST/AKm/LGUdVnKEKqnU2Wv+CV0eP6N9cVLTVrNRoVE4px3lFNYef5vpjHqVSp4NnbQhWtKmasGnropNa6dvfOeuCUjxaNSThUWIv96kBqw+HVdPnTw2sro8d16F+hLmipYxn4IKSw2i0yPAAAAAACV8N8QW3DeiTnRgp3FWWy7RjHaPM/fLwu2OhVOMcFq8WvIRm+WjBe8m98eySy+uyepKWl3C1otrWT+PUrxFxDbcSaHF3EFC4pSzjtOL2lyvtvh4fl3POEcEq8JvZKm+ajUXvFrVZ9srK90j26vIXVFZ0kvn0ImWwigAAAAAAAAAAAAAAAAAAAAAAAAAAAAAAAADZ22j1a+gVdWj0pzjH3z832bj92RlbiUKd/Ts3vOMn+NvylL8HTC2cqEqvZr/AJ/Q1hJnMAAAAAAAAAAAAAAAADZ8P6PV1q8lb0esacp/VLwr6yaX3IzivEoWFKNSfWUY/l6v2jlnTa2zrycV0Tf+Pk1hJnMAAAAAAAAAAAAAAAAAAAAAAAAAAAADaaFeaZbXHLrGnKrTfVqUlKPtiSTXo/uRfE7a8rU82dbkmvJNP1ym16r8HTbVKUZYqxyvfJ1+z0nTI6R+421tijNZcd9+b3eU/wDB8eueJXrvPr1J/wA2DxnTTHpp+jLXTt6SpckV9r9evycs4puNFjcSs9F0xQ5XiVSTlltPdKLlsvff2PqvBKHEXTVa9r82VlRSjhZ7tLV+mnqVq9nQUnClDGOupHywHAAAAAAAAAAAAAADIsLijbXKqXNpGrHvCTaz9U8p/f2Oe6o1KtNxp1HCXRpJ49msNfj1RspTjGWZRyjrvCFvorsf4jolm6aqbPLefC+m7ffyPkHiGvxFV/4W9qc3LqsYxr10S6d9i1WMKHJ9SlHGfUifGy4f0iu7W00hOtLxOUpT5Y5745vE/RbL8Fu8NPit9TVetcYpLRJKOXju8aL5fluRfEFbUXyxh93vj+5Bi8kKAAAAAAAAAAAAAAAAAAAAAAAAAAAe1nKjG6jK6i3BSTkl1aT3X1Wxqrqo6UlTeJYePJ9H7GdNxU05bEiueOtZq6mrujUUIrZUuscev8z9dvTBXKPhHh8LZ0Jrmk95f6s+Xb01z1yd8+K13U51ou3T3NNrl5R1HVJ3tClyfE8Tj5Sa8W/dOWX26k1w21na20aE5c3Lon3S/p06YWF7HJc1I1KjnFYz+2YB3GgAAAAAAAAAAAAAAAkdfiy8o6fS07SJulTpJeJfNOXWTfknLLx989Cu0/DtvUuKl1drnnNvR7RWyS7tLCz+MEhLiE4wjTpaJfJi8Q65/Ho069xRUa0E4Sa6SXWL9Gnnb1+h08J4SuGupTpyzTk8pPeL2a81tjr37mu6uv4hRlJfctPU0xMnGAAAAAAAAAAAAAAAAAAAAAAAAAAAAAAAAAAAAAAAAAAAAAAAAAAAAAAAAAAAAAAAAAAAAAAAAAAAAAAMpdWAb+10F1uDqusY3jUWP+C2l/dL+wga3F1T4vTsejg8/wDk9V8Rf+474WmbWVXrn4/b+CP5XmT2DgKgAAAAAAAAAAAAAAAAAAG94N0WOu6pKhUfhjTk2/Jtcsf7nn+kgvEPFXw21VVbuUV7ZzL4TXud1ha/XqOL2w/+DR1IypVHTqrEk8NeTXVfcnIyU4qUdU9TjlFxeGUPTEAAAAAAAAAAAAAAAAAAAAAAAA2/D2v3eiV80YKcG/FTktn7eT9V+SJ4rwijxCniTcZLaS0a9e68vw0ddrdzoS0WV2O1QUORQcEsr5f8/k+JTcudzUm8PfX2/sW9YxjByDi7X7vUr2dnKkqdOE3Hkj3cXjLfff6f5PsXAeEULWjGspOcpJPmfZr/AErp/d/BVb67nUm4Ywk9v8kdLCR4AAAAAAAAAAAAAAAAMiwvbjT7pXNpUxJfVP0afVGi5tqVzTdKqsp+34e6NlKrKnLmjudj4V1J6rosb+tbRpuTaeOjw8ZXll9j4zx6x/g72VvCbmks67rKzh+i1zoW2yrfVpKo1jJGv2h69dafcLTrOhGHPDmdTHieW00tvD03fX2LP4R4TRuaX8VVm5crxy64WMb999Ft69I7il1Ok/pxWMrc5yfRivgAAAAAAAAAAAAAAAAAAAAAAAHvZXH7peQuVTUnCSkk+ja3WfTJpuKP1qUqWccyayt9d8eZnTnyTUsbGRW1rUq2p/xKd5L4q6STxj0S6JenQ5qfC7Snbfwsaa+n27+b6589zbK6qyqfUctTy1S+nqV9K8rQSlLHNjo3jDeO2cZ98m2ytI2lGNGDbjHbPRZ0Xtt6GFaq6s3NrVmKdRqAAAAAAAAAAAAAAAAAANhqGsXd9a07OU+WlTilGC6bfqfnJvfL89sEfa8NoW9WddLM5ttye+vRdktsfnJ0VbmdSKhsl0Goaxd6laU6F9PndPKjN/Nh42b/AFdNm9+vU9tOG0LSrOpQXKp4yumV1S6Zzr0226qtzOrBRnrjqa87znAAAAAAAAAAAAAAAAAAAAAAAAAAAAAAAAAAAAAAAAAAAAAAAAAAAAAAAAAAAAAAAAAAAAAAAAAAAAAAMuz02/voOdlZ1KiWz5It4+3Q5bi+trZpVqijnu0s/k2woVKizCLZKrDhS5nwbXqVrSSrOalCLi+bEPTrlqUvfYql14joR4xRhConS5Wm8rGZee2nLH01JSlYSdpNuP3Z/t+2Re60jUrSj8a7sKkIrvKDS+7RaKHErOvPkpVYyfZNN/BGTt6sFmUWkYR2mkAAAAAAAAAAAAAHtaWlze1fhWlCU5YziKy/sjTXuKVCHPVkoru3hfkzhTlN4issl3BXC1zXv6j1WynCCpSiueLWXNcu2VviOfwVHxH4ho0qEP4WopS54t4aekXnXHdpfJK8PsZSnL6kWlh/JHqvD2s0W1PTKuI5y+R4275x09Sw0+NcPqY5a8cvGnMs69MZ3OCVnXTf2P8ADNYSZzAAAAAAAAAAAAAAAAAAAAAAAAAAAGXpd7e2F9GtptVxqZwsd89mu6b7M5L21t7mi6dxFOPn080+mO5uoValOadN6na/4pZ0LuGn3d3BVpRzy5xl9/bL6JvL9T4k+HXFSlO5o026Sb18v1x1a0XXBcPrwjJU5SXMzkvGN7qFzrtSjqVXPw5uMYraKXbC9Vh56n13w/a2lGxpzto454pt7tvrl+Tyuy6Iq1/VqyrONR7M0ZNnEAAAAAAAAAAAAAC6nUnSqKpSm008pp4afmn2MZwjOLjJZT6PXJ7GTi8o6/oWufA4bo3nEN5GMqnRvZtZxF4Xpu30Se58e4rwj6vEqtDh1NtR3S1SeNcZ89Et29i2W9zy0Izryw2Rf9p19f8A77C0Vf8A0JQU4qPSTzvl/qxs123XuWrwVZ230JVuX+bGTTzuvRdOz67+hG8Xq1OZRz9rRBi8kIAAAAAAAAAAAAAAAAAAAAAAAAAAAelvWqW1eNejLEovKeOjXR/RmurSjVg6c1lNYfmnuZQm4SUlui2pUnVqOpVm228tt5bfnnuZQhGEVGKwl07Hjk5PLPS6uq95V+Lc1HKWEuZ9XhYWX3eNsvyNdGhToR5Kawst46a6vHbXUynUlN5k9TxNxgXzpVIU41JQaUs4fnjZ/kwU4uTinqt/LJk4tJN9SwzMQAAAAAAAVhGU5qEFlt4SPJNRWXsepNvCK1ISp1HTnHDTw15NdRGSklJbMNNPDLT08Pa6uq93UU7io3hKK8klskl2S8kaaNCnRi401jLbfm3u33bM51JTeZMVLqvUto21So3GDbin+nPXHknjoI0KcakqsViUsZffG2fTIdSTiot6I8TcYAAAAAAAAAAAAAAAAAAAAAAAAAAAAAAAA3uicLXet0HUsLug2vmi5NSj7rk/K2ILiXiChw6fLXpzw9mkmn6Pm+Hhndb2E68cwkvn/BMtZ4LrXXD1tZWcoKpR+ZttJ8yzPfG/jxjbpkpnDvFVOjxC4r1k+SpjGMNrl0jpnH9O+u5L1+GudCEI7x/Xf5IDrWk1NHuf3a4uqUp9405N8vvmKSfp1L/w7iMb6n9WnCUY9HJJZ9NW/fbsQVxbuhLlck35GuJE5wAXVKc6cuWpFp4T38msp/VPJjGcZLMXndfh4f4aweuLW5aZHhdTip1FGVRRT7vOF9k39kYzk4xbSz5LGv5aXyj2Ky8N4Jzw1wReU9To39e4ozpKSnmE2843jjw4fix38yi8Z8WUHbVbaEJxqNOP3JLGdHnVvbJN2nC5qpGo2mt9CvE3BF5V1StqFvXowpSfPmc3HGd5Z8OF4s9zzgviy3jbUrapCcqiXL9qTzjbGudsC74ZOVSVSLSW+vyQarBU6jhGopYfVZw/bKT+6L1Tk5RUmsZ6PGV64bXyyEksPCeSwzPAAAAAAAAAAAAAAAAAAAAAAAAAAAAAAAAAAAbvgyDfEVOq6/JGGZzlzYxGO7y/JvEX7kJ4hl/0+pBQ5pS+2KxnLe2F3Wr8sHbw9fz084S1ft+8E/hxfpOsVKmmULmVNyi406r8Kbawmn1i89M4/wCj5+/DF7Yxp3c4Kai05RWuEn1Wz03xnHpqTi4jRrOVOLxnZ7HJ6sJ06jhVWJJtNPz7/k+swlGUVKOz2/Qq8k02nuWmR4SbTOCdQ1OjG4trmjKnJrMozeV57cuzXkytXvim0s5ypVYyU10a37a52fdElR4ZUqpSi00SXjHg261O/hcaVyJKmoSUnj5do9v5dvois+HvFNC1oSp3beeZtYWf6tX175fuSN9w2VWalTxtj8HPL+0djdO3lXhNrq4PKz5Zxv8AQ+h2twrimqii4p91h/jp7kBVp/Tly5T9DHOg1k74J1S24f0GpfahXlipPFOknly5Vu0u2W8N/wC1FE8S8OrcUvqdvbwX2rMpds7Jvd4Syl5k5w+vG3oOdR7vRehXjTVbbiHh6F7p9eX+nPFSk3hrm6NrviSwn/uZ54b4bW4XfzoXEV90ftl3xuk91lPLXl7i/rxuaCnTez1XqQMvhBgAAAAAAAAAAAAAAAAAAAAAAAAAAAAAAAAAAAFctLCYwMlACrbby2EsaIFACXfs7rwsLutqF3dclGEMS32lKT8Kx+p4Tx3Kj4uoyuaNO2ow5qkpaeSX9Tz0WWs9CW4VJU5SqSeIpfv9Tf6vxFacScN16Om15QqRXNyPZyjF5ljD3TjnK+5AcO4HX4TxGjO5ipQk8ZWqjJ7b7Pmwk/xqd1a7hdUJqm8NfK/+HMj6aVsABtvqwMlU2ujGBkoAAAAAAAAAAAAAAAAAAAAAAAAAAAAAAAAAAAAAAAAAAAV5ny8udvI8ws5GXjAjJxlzReGGk1hhNrYoegAAAAAAAAAAAAAAAAAAAAAAAAAAAAAAAAAAAAAAAAAAAAAAAAAAAAAAAAAAAAAAAAAAAAAAAAAAAAAAAAAAAAAAAAAAAAAAAAAAAAAAAAAAAAAAAAAAAAAAAAAAAAAAAAA//9k="/>
          <p:cNvSpPr>
            <a:spLocks noChangeAspect="1" noChangeArrowheads="1"/>
          </p:cNvSpPr>
          <p:nvPr/>
        </p:nvSpPr>
        <p:spPr bwMode="auto">
          <a:xfrm>
            <a:off x="217805" y="-163722"/>
            <a:ext cx="426720" cy="3454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17539" tIns="58769" rIns="117539" bIns="58769"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400" b="1" i="0" u="none" strike="noStrike" kern="1200" cap="none" spc="0" normalizeH="0" baseline="0" noProof="0" dirty="0">
              <a:ln>
                <a:noFill/>
              </a:ln>
              <a:solidFill>
                <a:srgbClr val="002776"/>
              </a:solidFill>
              <a:effectLst/>
              <a:uLnTx/>
              <a:uFillTx/>
              <a:latin typeface="Arial" pitchFamily="34" charset="0"/>
              <a:ea typeface="+mn-ea"/>
              <a:cs typeface="Arial" pitchFamily="34" charset="0"/>
            </a:endParaRPr>
          </a:p>
        </p:txBody>
      </p:sp>
      <p:sp>
        <p:nvSpPr>
          <p:cNvPr id="6" name="AutoShape 8" descr="data:image/jpeg;base64,/9j/4AAQSkZJRgABAQAAAQABAAD/2wCEAAkGBwgHBhUIBwgVFhUWFyAZGRgYFyUfIBwiICEmIhwgKR8kHDQsHCMlHCEnITErJSksOjEuHR8zOj8xNzEwLiwBCgoKDg0OGxAQGjcmICUsLDQ3Njc4LCw3LDcsNDA1LDIuLi8wNC0vNzAvLC0sNjY3NywyLC80NCwuLy43NywsLP/AABEIALcBEwMBEQACEQEDEQH/xAAbAAEAAQUBAAAAAAAAAAAAAAAABgECBAUHA//EADUQAAIBAwIEBAUBBwUAAAAAAAABAgMEEQUhBhIxQSJRYXETMoGRoUIHFBVSgqKxI2JywfH/xAAbAQEAAgMBAQAAAAAAAAAAAAAABQYCAwQBB//EADYRAAIBAwIEBQMCBQMFAAAAAAABAgMEESExBRJBUQZhcYGhEyKRwfAUIzKx0UKS4SVicoLx/9oADAMBAAIRAxEAPwDm5cCEAAAAAAAAAAAAAAAAAAAAAAAAAAAAAAAAAAAAAAAAAAAAAAAAAAAAAAAAAAAAAAAAAAAAAAAAAAAAAAAAAAAAAAAAAAAAAAAAAAAAAAAAAAAAAAAAAAAAAAAAAAAAAAAAAMrUbCvp1wqF1HDcIz+kkn+Onumc1pd07qDnTeicl/tbX6Z9DbVoypS5Zdk/yYp0moAAAAAAAAAAAAAAAAAAAAAAAAAAAAAAAAAAAAAAAAAAAGTcWNa3s6V3UXhq83L/AEvD/JzUrqnUrVKMX90MZ/8AZZRtlSlGEZvZ5+DGOk1AAmnC/D/D2t4cL2qqkcOVKTjvjrh8vij7fgpnG+NcU4dnNKLg9prOnbKzo/h9GyZs7S2r4xJ57Ep4x4f0nUMajql46ShHlcljdZylut3lvCXmVTw7xq+ts2ttT+o5PONdO/ttnJJX1pRqfzKksYOVX6s1dNac5uC6OeMv1wlt7H1a2+u6adxjm/7c4X53+CsVfp838vbzMc6DWeltRnc3EaFJbzkor3bwvya61WNKnKpLaKbfotWZQg5yUV1K3VCdrdTt6vzQk4v3TwzyjVjWpxqQ2kk16PUTg4ScX0PI2mIAAAAAAAAAAAAAAAAAAAAAAAAAAAAAAAAAAABJOGNH0TWWre4v6lOt2i8Yl/xeOvo/yVzjXEuIWCdWnRU6ffXK9V28/wA4JGzt7ev9spNS/v6E/wBW4Wsb3Q6Wn1a7hGgtp7Zwlh5ztv1fsfPuH+IrmhfVbiMOZ1f9OvfTGNdNkTtexpzoxpt4Uepy7W6OlW1z8HSbmdRLrOSST9tt16/+n1Ph1W8q0+e6goN7JZbXr09vz2K1cxowly0m35/4NaSJzEi4Q1Wz0KdXUbmPNPl5KcF3b3k2/wBKWEs+rK9x/h1fiMadrTfLDOZS7Y2SXVvLftq9iQsK8LfmqS1eyRsq/F8Ne0atpusUowlJc1OcflynmMX5dMZ9d8dSMo+GXw28pXVnJuK0knvh6NrbPfHlpnY6ZcRVxSlTqrD6MhZdCGL6Xw/ir4yfLnfHXHpkxnzcr5N/PY9jjP3bHRuD+G9ErXENW07UJ1OR55JJJp4eMrth7r2PnHiHjvEadOdncUVHmWOZNtNZ1w/Pbus6pFhsbO3clVpyzjoV4w4b0WncT1bUdQnT538kUm28JbLq2+v1PPDvHeITpws7eip8vVtrCz1flt3fTIvrKgpOrUljJzit8P4r+Any525uuPXB9Hhzcq59+uNvYr8uXP27FhmYgAAAAAAAAAAAAAAAAAAAAAAAAAAAAAAAAAA2vC9aztdZjeajPEKWZ4xlya+VJefM0/oyK41SuK1nKjbr7p/b2ST/AKm/LGUdVnKEKqnU2Wv+CV0eP6N9cVLTVrNRoVE4px3lFNYef5vpjHqVSp4NnbQhWtKmasGnropNa6dvfOeuCUjxaNSThUWIv96kBqw+HVdPnTw2sro8d16F+hLmipYxn4IKSw2i0yPAAAAAACV8N8QW3DeiTnRgp3FWWy7RjHaPM/fLwu2OhVOMcFq8WvIRm+WjBe8m98eySy+uyepKWl3C1otrWT+PUrxFxDbcSaHF3EFC4pSzjtOL2lyvtvh4fl3POEcEq8JvZKm+ajUXvFrVZ9srK90j26vIXVFZ0kvn0ImWwigAAAAAAAAAAAAAAAAAAAAAAAAAAAAAAAADZ22j1a+gVdWj0pzjH3z832bj92RlbiUKd/Ts3vOMn+NvylL8HTC2cqEqvZr/AJ/Q1hJnMAAAAAAAAAAAAAAAADZ8P6PV1q8lb0esacp/VLwr6yaX3IzivEoWFKNSfWUY/l6v2jlnTa2zrycV0Tf+Pk1hJnMAAAAAAAAAAAAAAAAAAAAAAAAAAAADaaFeaZbXHLrGnKrTfVqUlKPtiSTXo/uRfE7a8rU82dbkmvJNP1ym16r8HTbVKUZYqxyvfJ1+z0nTI6R+421tijNZcd9+b3eU/wDB8eueJXrvPr1J/wA2DxnTTHpp+jLXTt6SpckV9r9evycs4puNFjcSs9F0xQ5XiVSTlltPdKLlsvff2PqvBKHEXTVa9r82VlRSjhZ7tLV+mnqVq9nQUnClDGOupHywHAAAAAAAAAAAAAADIsLijbXKqXNpGrHvCTaz9U8p/f2Oe6o1KtNxp1HCXRpJ49msNfj1RspTjGWZRyjrvCFvorsf4jolm6aqbPLefC+m7ffyPkHiGvxFV/4W9qc3LqsYxr10S6d9i1WMKHJ9SlHGfUifGy4f0iu7W00hOtLxOUpT5Y5745vE/RbL8Fu8NPit9TVetcYpLRJKOXju8aL5fluRfEFbUXyxh93vj+5Bi8kKAAAAAAAAAAAAAAAAAAAAAAAAAAAe1nKjG6jK6i3BSTkl1aT3X1Wxqrqo6UlTeJYePJ9H7GdNxU05bEiueOtZq6mrujUUIrZUuscev8z9dvTBXKPhHh8LZ0Jrmk95f6s+Xb01z1yd8+K13U51ou3T3NNrl5R1HVJ3tClyfE8Tj5Sa8W/dOWX26k1w21na20aE5c3Lon3S/p06YWF7HJc1I1KjnFYz+2YB3GgAAAAAAAAAAAAAAAkdfiy8o6fS07SJulTpJeJfNOXWTfknLLx989Cu0/DtvUuKl1drnnNvR7RWyS7tLCz+MEhLiE4wjTpaJfJi8Q65/Ho069xRUa0E4Sa6SXWL9Gnnb1+h08J4SuGupTpyzTk8pPeL2a81tjr37mu6uv4hRlJfctPU0xMnGAAAAAAAAAAAAAAAAAAAAAAAAAAAAAAAAAAAAAAAAAAAAAAAAAAAAAAAAAAAAAAAAAAAAAAAAAAAAAAMpdWAb+10F1uDqusY3jUWP+C2l/dL+wga3F1T4vTsejg8/wDk9V8Rf+474WmbWVXrn4/b+CP5XmT2DgKgAAAAAAAAAAAAAAAAAAG94N0WOu6pKhUfhjTk2/Jtcsf7nn+kgvEPFXw21VVbuUV7ZzL4TXud1ha/XqOL2w/+DR1IypVHTqrEk8NeTXVfcnIyU4qUdU9TjlFxeGUPTEAAAAAAAAAAAAAAAAAAAAAAAA2/D2v3eiV80YKcG/FTktn7eT9V+SJ4rwijxCniTcZLaS0a9e68vw0ddrdzoS0WV2O1QUORQcEsr5f8/k+JTcudzUm8PfX2/sW9YxjByDi7X7vUr2dnKkqdOE3Hkj3cXjLfff6f5PsXAeEULWjGspOcpJPmfZr/AErp/d/BVb67nUm4Ywk9v8kdLCR4AAAAAAAAAAAAAAAAMiwvbjT7pXNpUxJfVP0afVGi5tqVzTdKqsp+34e6NlKrKnLmjudj4V1J6rosb+tbRpuTaeOjw8ZXll9j4zx6x/g72VvCbmks67rKzh+i1zoW2yrfVpKo1jJGv2h69dafcLTrOhGHPDmdTHieW00tvD03fX2LP4R4TRuaX8VVm5crxy64WMb999Ft69I7il1Ok/pxWMrc5yfRivgAAAAAAAAAAAAAAAAAAAAAAAHvZXH7peQuVTUnCSkk+ja3WfTJpuKP1qUqWccyayt9d8eZnTnyTUsbGRW1rUq2p/xKd5L4q6STxj0S6JenQ5qfC7Snbfwsaa+n27+b6589zbK6qyqfUctTy1S+nqV9K8rQSlLHNjo3jDeO2cZ98m2ytI2lGNGDbjHbPRZ0Xtt6GFaq6s3NrVmKdRqAAAAAAAAAAAAAAAAAANhqGsXd9a07OU+WlTilGC6bfqfnJvfL89sEfa8NoW9WddLM5ttye+vRdktsfnJ0VbmdSKhsl0Goaxd6laU6F9PndPKjN/Nh42b/AFdNm9+vU9tOG0LSrOpQXKp4yumV1S6Zzr0226qtzOrBRnrjqa87znAAAAAAAAAAAAAAAAAAAAAAAAAAAAAAAAAAAAAAAAAAAAAAAAAAAAAAAAAAAAAAAAAAAAAAAAAAAAAAMuz02/voOdlZ1KiWz5It4+3Q5bi+trZpVqijnu0s/k2woVKizCLZKrDhS5nwbXqVrSSrOalCLi+bEPTrlqUvfYql14joR4xRhConS5Wm8rGZee2nLH01JSlYSdpNuP3Z/t+2Re60jUrSj8a7sKkIrvKDS+7RaKHErOvPkpVYyfZNN/BGTt6sFmUWkYR2mkAAAAAAAAAAAAAHtaWlze1fhWlCU5YziKy/sjTXuKVCHPVkoru3hfkzhTlN4issl3BXC1zXv6j1WynCCpSiueLWXNcu2VviOfwVHxH4ho0qEP4WopS54t4aekXnXHdpfJK8PsZSnL6kWlh/JHqvD2s0W1PTKuI5y+R4275x09Sw0+NcPqY5a8cvGnMs69MZ3OCVnXTf2P8ADNYSZzAAAAAAAAAAAAAAAAAAAAAAAAAAAGXpd7e2F9GtptVxqZwsd89mu6b7M5L21t7mi6dxFOPn080+mO5uoValOadN6na/4pZ0LuGn3d3BVpRzy5xl9/bL6JvL9T4k+HXFSlO5o026Sb18v1x1a0XXBcPrwjJU5SXMzkvGN7qFzrtSjqVXPw5uMYraKXbC9Vh56n13w/a2lGxpzto454pt7tvrl+Tyuy6Iq1/VqyrONR7M0ZNnEAAAAAAAAAAAAAC6nUnSqKpSm008pp4afmn2MZwjOLjJZT6PXJ7GTi8o6/oWufA4bo3nEN5GMqnRvZtZxF4Xpu30Se58e4rwj6vEqtDh1NtR3S1SeNcZ89Et29i2W9zy0Izryw2Rf9p19f8A77C0Vf8A0JQU4qPSTzvl/qxs123XuWrwVZ230JVuX+bGTTzuvRdOz67+hG8Xq1OZRz9rRBi8kIAAAAAAAAAAAAAAAAAAAAAAAAAAAelvWqW1eNejLEovKeOjXR/RmurSjVg6c1lNYfmnuZQm4SUlui2pUnVqOpVm228tt5bfnnuZQhGEVGKwl07Hjk5PLPS6uq95V+Lc1HKWEuZ9XhYWX3eNsvyNdGhToR5Kawst46a6vHbXUynUlN5k9TxNxgXzpVIU41JQaUs4fnjZ/kwU4uTinqt/LJk4tJN9SwzMQAAAAAAAVhGU5qEFlt4SPJNRWXsepNvCK1ISp1HTnHDTw15NdRGSklJbMNNPDLT08Pa6uq93UU7io3hKK8klskl2S8kaaNCnRi401jLbfm3u33bM51JTeZMVLqvUto21So3GDbin+nPXHknjoI0KcakqsViUsZffG2fTIdSTiot6I8TcYAAAAAAAAAAAAAAAAAAAAAAAAAAAAAAAA3uicLXet0HUsLug2vmi5NSj7rk/K2ILiXiChw6fLXpzw9mkmn6Pm+Hhndb2E68cwkvn/BMtZ4LrXXD1tZWcoKpR+ZttJ8yzPfG/jxjbpkpnDvFVOjxC4r1k+SpjGMNrl0jpnH9O+u5L1+GudCEI7x/Xf5IDrWk1NHuf3a4uqUp9405N8vvmKSfp1L/w7iMb6n9WnCUY9HJJZ9NW/fbsQVxbuhLlck35GuJE5wAXVKc6cuWpFp4T38msp/VPJjGcZLMXndfh4f4aweuLW5aZHhdTip1FGVRRT7vOF9k39kYzk4xbSz5LGv5aXyj2Ky8N4Jzw1wReU9To39e4ozpKSnmE2843jjw4fix38yi8Z8WUHbVbaEJxqNOP3JLGdHnVvbJN2nC5qpGo2mt9CvE3BF5V1StqFvXowpSfPmc3HGd5Z8OF4s9zzgviy3jbUrapCcqiXL9qTzjbGudsC74ZOVSVSLSW+vyQarBU6jhGopYfVZw/bKT+6L1Tk5RUmsZ6PGV64bXyyEksPCeSwzPAAAAAAAAAAAAAAAAAAAAAAAAAAAAAAAAAAAbvgyDfEVOq6/JGGZzlzYxGO7y/JvEX7kJ4hl/0+pBQ5pS+2KxnLe2F3Wr8sHbw9fz084S1ft+8E/hxfpOsVKmmULmVNyi406r8Kbawmn1i89M4/wCj5+/DF7Yxp3c4Kai05RWuEn1Wz03xnHpqTi4jRrOVOLxnZ7HJ6sJ06jhVWJJtNPz7/k+swlGUVKOz2/Qq8k02nuWmR4SbTOCdQ1OjG4trmjKnJrMozeV57cuzXkytXvim0s5ypVYyU10a37a52fdElR4ZUqpSi00SXjHg261O/hcaVyJKmoSUnj5do9v5dvois+HvFNC1oSp3beeZtYWf6tX175fuSN9w2VWalTxtj8HPL+0djdO3lXhNrq4PKz5Zxv8AQ+h2twrimqii4p91h/jp7kBVp/Tly5T9DHOg1k74J1S24f0GpfahXlipPFOknly5Vu0u2W8N/wC1FE8S8OrcUvqdvbwX2rMpds7Jvd4Syl5k5w+vG3oOdR7vRehXjTVbbiHh6F7p9eX+nPFSk3hrm6NrviSwn/uZ54b4bW4XfzoXEV90ftl3xuk91lPLXl7i/rxuaCnTez1XqQMvhBgAAAAAAAAAAAAAAAAAAAAAAAAAAAAAAAAAAAFctLCYwMlACrbby2EsaIFACXfs7rwsLutqF3dclGEMS32lKT8Kx+p4Tx3Kj4uoyuaNO2ow5qkpaeSX9Tz0WWs9CW4VJU5SqSeIpfv9Tf6vxFacScN16Om15QqRXNyPZyjF5ljD3TjnK+5AcO4HX4TxGjO5ipQk8ZWqjJ7b7Pmwk/xqd1a7hdUJqm8NfK/+HMj6aVsABtvqwMlU2ujGBkoAAAAAAAAAAAAAAAAAAAAAAAAAAAAAAAAAAAAAAAAAAAV5ny8udvI8ws5GXjAjJxlzReGGk1hhNrYoegAAAAAAAAAAAAAAAAAAAAAAAAAAAAAAAAAAAAAAAAAAAAAAAAAAAAAAAAAAAAAAAAAAAAAAAAAAAAAAAAAAAAAAAAAAAAAAAAAAAAAAAAAAAAAAAAAAAAAAAAAAAAAAAAA//9k="/>
          <p:cNvSpPr>
            <a:spLocks noChangeAspect="1" noChangeArrowheads="1"/>
          </p:cNvSpPr>
          <p:nvPr/>
        </p:nvSpPr>
        <p:spPr bwMode="auto">
          <a:xfrm>
            <a:off x="431165" y="8998"/>
            <a:ext cx="426720" cy="3454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17539" tIns="58769" rIns="117539" bIns="58769"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400" b="1" i="0" u="none" strike="noStrike" kern="1200" cap="none" spc="0" normalizeH="0" baseline="0" noProof="0" dirty="0">
              <a:ln>
                <a:noFill/>
              </a:ln>
              <a:solidFill>
                <a:srgbClr val="002776"/>
              </a:solidFill>
              <a:effectLst/>
              <a:uLnTx/>
              <a:uFillTx/>
              <a:latin typeface="Arial" pitchFamily="34" charset="0"/>
              <a:ea typeface="+mn-ea"/>
              <a:cs typeface="Arial" pitchFamily="34" charset="0"/>
            </a:endParaRPr>
          </a:p>
        </p:txBody>
      </p:sp>
      <p:sp>
        <p:nvSpPr>
          <p:cNvPr id="4" name="Title 3"/>
          <p:cNvSpPr>
            <a:spLocks noGrp="1"/>
          </p:cNvSpPr>
          <p:nvPr>
            <p:ph type="title"/>
          </p:nvPr>
        </p:nvSpPr>
        <p:spPr>
          <a:xfrm>
            <a:off x="554508" y="399121"/>
            <a:ext cx="11662258" cy="423193"/>
          </a:xfrm>
        </p:spPr>
        <p:txBody>
          <a:bodyPr/>
          <a:lstStyle/>
          <a:p>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rPr>
              <a:t>Cyber </a:t>
            </a:r>
            <a:r>
              <a:rPr lang="en-US" sz="24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Risks Top the List </a:t>
            </a:r>
            <a:endPar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9" name="Picture 8"/>
          <p:cNvPicPr>
            <a:picLocks noChangeAspect="1"/>
          </p:cNvPicPr>
          <p:nvPr/>
        </p:nvPicPr>
        <p:blipFill>
          <a:blip r:embed="rId3"/>
          <a:stretch>
            <a:fillRect/>
          </a:stretch>
        </p:blipFill>
        <p:spPr>
          <a:xfrm>
            <a:off x="4470400" y="918114"/>
            <a:ext cx="7987524" cy="6536785"/>
          </a:xfrm>
          <a:prstGeom prst="rect">
            <a:avLst/>
          </a:prstGeom>
          <a:solidFill>
            <a:schemeClr val="bg1"/>
          </a:solidFill>
        </p:spPr>
      </p:pic>
      <p:sp>
        <p:nvSpPr>
          <p:cNvPr id="15" name="TextBox 14"/>
          <p:cNvSpPr txBox="1"/>
          <p:nvPr/>
        </p:nvSpPr>
        <p:spPr>
          <a:xfrm>
            <a:off x="10401300" y="2818388"/>
            <a:ext cx="1562100" cy="419100"/>
          </a:xfrm>
          <a:prstGeom prst="rect">
            <a:avLst/>
          </a:prstGeom>
          <a:noFill/>
          <a:ln w="28575">
            <a:solidFill>
              <a:srgbClr val="C00000"/>
            </a:solidFill>
          </a:ln>
        </p:spPr>
        <p:txBody>
          <a:bodyPr wrap="square" rtlCol="0">
            <a:spAutoFit/>
          </a:bodyPr>
          <a:lstStyle/>
          <a:p>
            <a:pPr>
              <a:spcBef>
                <a:spcPts val="600"/>
              </a:spcBef>
            </a:pPr>
            <a:endParaRPr lang="en-ZA" sz="1800" dirty="0" err="1" smtClean="0"/>
          </a:p>
        </p:txBody>
      </p:sp>
    </p:spTree>
    <p:extLst>
      <p:ext uri="{BB962C8B-B14F-4D97-AF65-F5344CB8AC3E}">
        <p14:creationId xmlns:p14="http://schemas.microsoft.com/office/powerpoint/2010/main" val="31936424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aphicFrame>
        <p:nvGraphicFramePr>
          <p:cNvPr id="67" name="Table 66"/>
          <p:cNvGraphicFramePr>
            <a:graphicFrameLocks noGrp="1"/>
          </p:cNvGraphicFramePr>
          <p:nvPr>
            <p:extLst>
              <p:ext uri="{D42A27DB-BD31-4B8C-83A1-F6EECF244321}">
                <p14:modId xmlns:p14="http://schemas.microsoft.com/office/powerpoint/2010/main" val="941819168"/>
              </p:ext>
            </p:extLst>
          </p:nvPr>
        </p:nvGraphicFramePr>
        <p:xfrm>
          <a:off x="3709644" y="5938405"/>
          <a:ext cx="8554097" cy="1493653"/>
        </p:xfrm>
        <a:graphic>
          <a:graphicData uri="http://schemas.openxmlformats.org/drawingml/2006/table">
            <a:tbl>
              <a:tblPr firstRow="1" firstCol="1" bandRow="1">
                <a:tableStyleId>{5C22544A-7EE6-4342-B048-85BDC9FD1C3A}</a:tableStyleId>
              </a:tblPr>
              <a:tblGrid>
                <a:gridCol w="8554097">
                  <a:extLst>
                    <a:ext uri="{9D8B030D-6E8A-4147-A177-3AD203B41FA5}">
                      <a16:colId xmlns:a16="http://schemas.microsoft.com/office/drawing/2014/main" xmlns="" val="1827033670"/>
                    </a:ext>
                  </a:extLst>
                </a:gridCol>
              </a:tblGrid>
              <a:tr h="1493653">
                <a:tc>
                  <a:txBody>
                    <a:bodyPr/>
                    <a:lstStyle/>
                    <a:p>
                      <a:pPr marL="171450" marR="135255" lvl="0" indent="-171450" algn="l" defTabSz="1175513" rtl="0" eaLnBrk="1" fontAlgn="base" latinLnBrk="0" hangingPunct="1">
                        <a:lnSpc>
                          <a:spcPct val="107000"/>
                        </a:lnSpc>
                        <a:spcBef>
                          <a:spcPts val="0"/>
                        </a:spcBef>
                        <a:buClr>
                          <a:schemeClr val="bg1"/>
                        </a:buClr>
                        <a:buSzPts val="1050"/>
                        <a:buFont typeface="Arial" panose="020B0604020202020204" pitchFamily="34" charset="0"/>
                        <a:buChar char="•"/>
                      </a:pPr>
                      <a:r>
                        <a:rPr lang="en-ZA" sz="1400" b="1" u="none" strike="noStrike" kern="1200" dirty="0" smtClean="0">
                          <a:solidFill>
                            <a:schemeClr val="bg1"/>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rPr>
                        <a:t>Independently review program effectiveness </a:t>
                      </a:r>
                    </a:p>
                    <a:p>
                      <a:pPr marL="171450" marR="135255" lvl="0" indent="-171450" algn="l" defTabSz="1175513" rtl="0" eaLnBrk="1" fontAlgn="base" latinLnBrk="0" hangingPunct="1">
                        <a:lnSpc>
                          <a:spcPct val="107000"/>
                        </a:lnSpc>
                        <a:spcBef>
                          <a:spcPts val="0"/>
                        </a:spcBef>
                        <a:buClr>
                          <a:schemeClr val="bg1"/>
                        </a:buClr>
                        <a:buSzPts val="1050"/>
                        <a:buFont typeface="Arial" panose="020B0604020202020204" pitchFamily="34" charset="0"/>
                        <a:buChar char="•"/>
                      </a:pPr>
                      <a:r>
                        <a:rPr lang="en-ZA" sz="1400" b="1" u="none" strike="noStrike" kern="1200" dirty="0" smtClean="0">
                          <a:solidFill>
                            <a:schemeClr val="bg1"/>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rPr>
                        <a:t>Provide confirmation to the board on risk management effectiveness </a:t>
                      </a:r>
                    </a:p>
                    <a:p>
                      <a:pPr marL="171450" marR="135255" lvl="0" indent="-171450" algn="l" defTabSz="1175513" rtl="0" eaLnBrk="1" fontAlgn="base" latinLnBrk="0" hangingPunct="1">
                        <a:lnSpc>
                          <a:spcPct val="107000"/>
                        </a:lnSpc>
                        <a:spcBef>
                          <a:spcPts val="0"/>
                        </a:spcBef>
                        <a:buClr>
                          <a:schemeClr val="bg1"/>
                        </a:buClr>
                        <a:buSzPts val="1050"/>
                        <a:buFont typeface="Arial" panose="020B0604020202020204" pitchFamily="34" charset="0"/>
                        <a:buChar char="•"/>
                      </a:pPr>
                      <a:r>
                        <a:rPr lang="en-ZA" sz="1400" b="1" u="none" strike="noStrike" kern="1200" dirty="0" smtClean="0">
                          <a:solidFill>
                            <a:schemeClr val="bg1"/>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rPr>
                        <a:t>Ensure that regulatory requirements and disclosure obligations for cybersecurity risks are met</a:t>
                      </a:r>
                      <a:endParaRPr lang="en-ZA" sz="1400" b="1" u="none" strike="noStrike" kern="1200" dirty="0">
                        <a:solidFill>
                          <a:schemeClr val="bg1"/>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R="20574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2166837879"/>
                  </a:ext>
                </a:extLst>
              </a:tr>
            </a:tbl>
          </a:graphicData>
        </a:graphic>
      </p:graphicFrame>
      <p:sp>
        <p:nvSpPr>
          <p:cNvPr id="3" name="Text Placeholder 2"/>
          <p:cNvSpPr>
            <a:spLocks noGrp="1"/>
          </p:cNvSpPr>
          <p:nvPr>
            <p:ph type="body" sz="quarter" idx="13"/>
          </p:nvPr>
        </p:nvSpPr>
        <p:spPr>
          <a:xfrm>
            <a:off x="580072" y="883394"/>
            <a:ext cx="11662259" cy="1061829"/>
          </a:xfrm>
        </p:spPr>
        <p:txBody>
          <a:bodyPr/>
          <a:lstStyle/>
          <a:p>
            <a:r>
              <a:rPr lang="en-US" i="1" dirty="0"/>
              <a:t>Effective risk management is the product of multiple layers of risk defense. Internal Audit should support the board’s need to understand the effectiveness of cybersecurity controls. </a:t>
            </a:r>
            <a:endParaRPr lang="en-ZA" i="1" dirty="0"/>
          </a:p>
        </p:txBody>
      </p:sp>
      <p:sp>
        <p:nvSpPr>
          <p:cNvPr id="5" name="AutoShape 6" descr="data:image/jpeg;base64,/9j/4AAQSkZJRgABAQAAAQABAAD/2wCEAAkGBwgHBhUIBwgVFhUWFyAZGRgYFyUfIBwiICEmIhwgKR8kHDQsHCMlHCEnITErJSksOjEuHR8zOj8xNzEwLiwBCgoKDg0OGxAQGjcmICUsLDQ3Njc4LCw3LDcsNDA1LDIuLi8wNC0vNzAvLC0sNjY3NywyLC80NCwuLy43NywsLP/AABEIALcBEwMBEQACEQEDEQH/xAAbAAEAAQUBAAAAAAAAAAAAAAAABgECBAUHA//EADUQAAIBAwIEBAUBBwUAAAAAAAABAgMEEQUhBhIxQSJRYXETMoGRoUIHFBVSgqKxI2JywfH/xAAbAQEAAgMBAQAAAAAAAAAAAAAABQYCAwQBB//EADYRAAIBAwIEBQMCBQMFAAAAAAABAgMEESExBRJBUQZhcYGhEyKRwfAUIzKx0UKS4SVicoLx/9oADAMBAAIRAxEAPwDm5cCEAAAAAAAAAAAAAAAAAAAAAAAAAAAAAAAAAAAAAAAAAAAAAAAAAAAAAAAAAAAAAAAAAAAAAAAAAAAAAAAAAAAAAAAAAAAAAAAAAAAAAAAAAAAAAAAAAAAAAAAAAAAAAAAAAMrUbCvp1wqF1HDcIz+kkn+Onumc1pd07qDnTeicl/tbX6Z9DbVoypS5Zdk/yYp0moAAAAAAAAAAAAAAAAAAAAAAAAAAAAAAAAAAAAAAAAAAAGTcWNa3s6V3UXhq83L/AEvD/JzUrqnUrVKMX90MZ/8AZZRtlSlGEZvZ5+DGOk1AAmnC/D/D2t4cL2qqkcOVKTjvjrh8vij7fgpnG+NcU4dnNKLg9prOnbKzo/h9GyZs7S2r4xJ57Ep4x4f0nUMajql46ShHlcljdZylut3lvCXmVTw7xq+ts2ttT+o5PONdO/ttnJJX1pRqfzKksYOVX6s1dNac5uC6OeMv1wlt7H1a2+u6adxjm/7c4X53+CsVfp838vbzMc6DWeltRnc3EaFJbzkor3bwvya61WNKnKpLaKbfotWZQg5yUV1K3VCdrdTt6vzQk4v3TwzyjVjWpxqQ2kk16PUTg4ScX0PI2mIAAAAAAAAAAAAAAAAAAAAAAAAAAAAAAAAAAABJOGNH0TWWre4v6lOt2i8Yl/xeOvo/yVzjXEuIWCdWnRU6ffXK9V28/wA4JGzt7ev9spNS/v6E/wBW4Wsb3Q6Wn1a7hGgtp7Zwlh5ztv1fsfPuH+IrmhfVbiMOZ1f9OvfTGNdNkTtexpzoxpt4Uepy7W6OlW1z8HSbmdRLrOSST9tt16/+n1Ph1W8q0+e6goN7JZbXr09vz2K1cxowly0m35/4NaSJzEi4Q1Wz0KdXUbmPNPl5KcF3b3k2/wBKWEs+rK9x/h1fiMadrTfLDOZS7Y2SXVvLftq9iQsK8LfmqS1eyRsq/F8Ne0atpusUowlJc1OcflynmMX5dMZ9d8dSMo+GXw28pXVnJuK0knvh6NrbPfHlpnY6ZcRVxSlTqrD6MhZdCGL6Xw/ir4yfLnfHXHpkxnzcr5N/PY9jjP3bHRuD+G9ErXENW07UJ1OR55JJJp4eMrth7r2PnHiHjvEadOdncUVHmWOZNtNZ1w/Pbus6pFhsbO3clVpyzjoV4w4b0WncT1bUdQnT538kUm28JbLq2+v1PPDvHeITpws7eip8vVtrCz1flt3fTIvrKgpOrUljJzit8P4r+Any525uuPXB9Hhzcq59+uNvYr8uXP27FhmYgAAAAAAAAAAAAAAAAAAAAAAAAAAAAAAAAAA2vC9aztdZjeajPEKWZ4xlya+VJefM0/oyK41SuK1nKjbr7p/b2ST/AKm/LGUdVnKEKqnU2Wv+CV0eP6N9cVLTVrNRoVE4px3lFNYef5vpjHqVSp4NnbQhWtKmasGnropNa6dvfOeuCUjxaNSThUWIv96kBqw+HVdPnTw2sro8d16F+hLmipYxn4IKSw2i0yPAAAAAACV8N8QW3DeiTnRgp3FWWy7RjHaPM/fLwu2OhVOMcFq8WvIRm+WjBe8m98eySy+uyepKWl3C1otrWT+PUrxFxDbcSaHF3EFC4pSzjtOL2lyvtvh4fl3POEcEq8JvZKm+ajUXvFrVZ9srK90j26vIXVFZ0kvn0ImWwigAAAAAAAAAAAAAAAAAAAAAAAAAAAAAAAADZ22j1a+gVdWj0pzjH3z832bj92RlbiUKd/Ts3vOMn+NvylL8HTC2cqEqvZr/AJ/Q1hJnMAAAAAAAAAAAAAAAADZ8P6PV1q8lb0esacp/VLwr6yaX3IzivEoWFKNSfWUY/l6v2jlnTa2zrycV0Tf+Pk1hJnMAAAAAAAAAAAAAAAAAAAAAAAAAAAADaaFeaZbXHLrGnKrTfVqUlKPtiSTXo/uRfE7a8rU82dbkmvJNP1ym16r8HTbVKUZYqxyvfJ1+z0nTI6R+421tijNZcd9+b3eU/wDB8eueJXrvPr1J/wA2DxnTTHpp+jLXTt6SpckV9r9evycs4puNFjcSs9F0xQ5XiVSTlltPdKLlsvff2PqvBKHEXTVa9r82VlRSjhZ7tLV+mnqVq9nQUnClDGOupHywHAAAAAAAAAAAAAADIsLijbXKqXNpGrHvCTaz9U8p/f2Oe6o1KtNxp1HCXRpJ49msNfj1RspTjGWZRyjrvCFvorsf4jolm6aqbPLefC+m7ffyPkHiGvxFV/4W9qc3LqsYxr10S6d9i1WMKHJ9SlHGfUifGy4f0iu7W00hOtLxOUpT5Y5745vE/RbL8Fu8NPit9TVetcYpLRJKOXju8aL5fluRfEFbUXyxh93vj+5Bi8kKAAAAAAAAAAAAAAAAAAAAAAAAAAAe1nKjG6jK6i3BSTkl1aT3X1Wxqrqo6UlTeJYePJ9H7GdNxU05bEiueOtZq6mrujUUIrZUuscev8z9dvTBXKPhHh8LZ0Jrmk95f6s+Xb01z1yd8+K13U51ou3T3NNrl5R1HVJ3tClyfE8Tj5Sa8W/dOWX26k1w21na20aE5c3Lon3S/p06YWF7HJc1I1KjnFYz+2YB3GgAAAAAAAAAAAAAAAkdfiy8o6fS07SJulTpJeJfNOXWTfknLLx989Cu0/DtvUuKl1drnnNvR7RWyS7tLCz+MEhLiE4wjTpaJfJi8Q65/Ho069xRUa0E4Sa6SXWL9Gnnb1+h08J4SuGupTpyzTk8pPeL2a81tjr37mu6uv4hRlJfctPU0xMnGAAAAAAAAAAAAAAAAAAAAAAAAAAAAAAAAAAAAAAAAAAAAAAAAAAAAAAAAAAAAAAAAAAAAAAAAAAAAAAMpdWAb+10F1uDqusY3jUWP+C2l/dL+wga3F1T4vTsejg8/wDk9V8Rf+474WmbWVXrn4/b+CP5XmT2DgKgAAAAAAAAAAAAAAAAAAG94N0WOu6pKhUfhjTk2/Jtcsf7nn+kgvEPFXw21VVbuUV7ZzL4TXud1ha/XqOL2w/+DR1IypVHTqrEk8NeTXVfcnIyU4qUdU9TjlFxeGUPTEAAAAAAAAAAAAAAAAAAAAAAAA2/D2v3eiV80YKcG/FTktn7eT9V+SJ4rwijxCniTcZLaS0a9e68vw0ddrdzoS0WV2O1QUORQcEsr5f8/k+JTcudzUm8PfX2/sW9YxjByDi7X7vUr2dnKkqdOE3Hkj3cXjLfff6f5PsXAeEULWjGspOcpJPmfZr/AErp/d/BVb67nUm4Ywk9v8kdLCR4AAAAAAAAAAAAAAAAMiwvbjT7pXNpUxJfVP0afVGi5tqVzTdKqsp+34e6NlKrKnLmjudj4V1J6rosb+tbRpuTaeOjw8ZXll9j4zx6x/g72VvCbmks67rKzh+i1zoW2yrfVpKo1jJGv2h69dafcLTrOhGHPDmdTHieW00tvD03fX2LP4R4TRuaX8VVm5crxy64WMb999Ft69I7il1Ok/pxWMrc5yfRivgAAAAAAAAAAAAAAAAAAAAAAAHvZXH7peQuVTUnCSkk+ja3WfTJpuKP1qUqWccyayt9d8eZnTnyTUsbGRW1rUq2p/xKd5L4q6STxj0S6JenQ5qfC7Snbfwsaa+n27+b6589zbK6qyqfUctTy1S+nqV9K8rQSlLHNjo3jDeO2cZ98m2ytI2lGNGDbjHbPRZ0Xtt6GFaq6s3NrVmKdRqAAAAAAAAAAAAAAAAAANhqGsXd9a07OU+WlTilGC6bfqfnJvfL89sEfa8NoW9WddLM5ttye+vRdktsfnJ0VbmdSKhsl0Goaxd6laU6F9PndPKjN/Nh42b/AFdNm9+vU9tOG0LSrOpQXKp4yumV1S6Zzr0226qtzOrBRnrjqa87znAAAAAAAAAAAAAAAAAAAAAAAAAAAAAAAAAAAAAAAAAAAAAAAAAAAAAAAAAAAAAAAAAAAAAAAAAAAAAAMuz02/voOdlZ1KiWz5It4+3Q5bi+trZpVqijnu0s/k2woVKizCLZKrDhS5nwbXqVrSSrOalCLi+bEPTrlqUvfYql14joR4xRhConS5Wm8rGZee2nLH01JSlYSdpNuP3Z/t+2Re60jUrSj8a7sKkIrvKDS+7RaKHErOvPkpVYyfZNN/BGTt6sFmUWkYR2mkAAAAAAAAAAAAAHtaWlze1fhWlCU5YziKy/sjTXuKVCHPVkoru3hfkzhTlN4issl3BXC1zXv6j1WynCCpSiueLWXNcu2VviOfwVHxH4ho0qEP4WopS54t4aekXnXHdpfJK8PsZSnL6kWlh/JHqvD2s0W1PTKuI5y+R4275x09Sw0+NcPqY5a8cvGnMs69MZ3OCVnXTf2P8ADNYSZzAAAAAAAAAAAAAAAAAAAAAAAAAAAGXpd7e2F9GtptVxqZwsd89mu6b7M5L21t7mi6dxFOPn080+mO5uoValOadN6na/4pZ0LuGn3d3BVpRzy5xl9/bL6JvL9T4k+HXFSlO5o026Sb18v1x1a0XXBcPrwjJU5SXMzkvGN7qFzrtSjqVXPw5uMYraKXbC9Vh56n13w/a2lGxpzto454pt7tvrl+Tyuy6Iq1/VqyrONR7M0ZNnEAAAAAAAAAAAAAC6nUnSqKpSm008pp4afmn2MZwjOLjJZT6PXJ7GTi8o6/oWufA4bo3nEN5GMqnRvZtZxF4Xpu30Se58e4rwj6vEqtDh1NtR3S1SeNcZ89Et29i2W9zy0Izryw2Rf9p19f8A77C0Vf8A0JQU4qPSTzvl/qxs123XuWrwVZ230JVuX+bGTTzuvRdOz67+hG8Xq1OZRz9rRBi8kIAAAAAAAAAAAAAAAAAAAAAAAAAAAelvWqW1eNejLEovKeOjXR/RmurSjVg6c1lNYfmnuZQm4SUlui2pUnVqOpVm228tt5bfnnuZQhGEVGKwl07Hjk5PLPS6uq95V+Lc1HKWEuZ9XhYWX3eNsvyNdGhToR5Kawst46a6vHbXUynUlN5k9TxNxgXzpVIU41JQaUs4fnjZ/kwU4uTinqt/LJk4tJN9SwzMQAAAAAAAVhGU5qEFlt4SPJNRWXsepNvCK1ISp1HTnHDTw15NdRGSklJbMNNPDLT08Pa6uq93UU7io3hKK8klskl2S8kaaNCnRi401jLbfm3u33bM51JTeZMVLqvUto21So3GDbin+nPXHknjoI0KcakqsViUsZffG2fTIdSTiot6I8TcYAAAAAAAAAAAAAAAAAAAAAAAAAAAAAAAA3uicLXet0HUsLug2vmi5NSj7rk/K2ILiXiChw6fLXpzw9mkmn6Pm+Hhndb2E68cwkvn/BMtZ4LrXXD1tZWcoKpR+ZttJ8yzPfG/jxjbpkpnDvFVOjxC4r1k+SpjGMNrl0jpnH9O+u5L1+GudCEI7x/Xf5IDrWk1NHuf3a4uqUp9405N8vvmKSfp1L/w7iMb6n9WnCUY9HJJZ9NW/fbsQVxbuhLlck35GuJE5wAXVKc6cuWpFp4T38msp/VPJjGcZLMXndfh4f4aweuLW5aZHhdTip1FGVRRT7vOF9k39kYzk4xbSz5LGv5aXyj2Ky8N4Jzw1wReU9To39e4ozpKSnmE2843jjw4fix38yi8Z8WUHbVbaEJxqNOP3JLGdHnVvbJN2nC5qpGo2mt9CvE3BF5V1StqFvXowpSfPmc3HGd5Z8OF4s9zzgviy3jbUrapCcqiXL9qTzjbGudsC74ZOVSVSLSW+vyQarBU6jhGopYfVZw/bKT+6L1Tk5RUmsZ6PGV64bXyyEksPCeSwzPAAAAAAAAAAAAAAAAAAAAAAAAAAAAAAAAAAAbvgyDfEVOq6/JGGZzlzYxGO7y/JvEX7kJ4hl/0+pBQ5pS+2KxnLe2F3Wr8sHbw9fz084S1ft+8E/hxfpOsVKmmULmVNyi406r8Kbawmn1i89M4/wCj5+/DF7Yxp3c4Kai05RWuEn1Wz03xnHpqTi4jRrOVOLxnZ7HJ6sJ06jhVWJJtNPz7/k+swlGUVKOz2/Qq8k02nuWmR4SbTOCdQ1OjG4trmjKnJrMozeV57cuzXkytXvim0s5ypVYyU10a37a52fdElR4ZUqpSi00SXjHg261O/hcaVyJKmoSUnj5do9v5dvois+HvFNC1oSp3beeZtYWf6tX175fuSN9w2VWalTxtj8HPL+0djdO3lXhNrq4PKz5Zxv8AQ+h2twrimqii4p91h/jp7kBVp/Tly5T9DHOg1k74J1S24f0GpfahXlipPFOknly5Vu0u2W8N/wC1FE8S8OrcUvqdvbwX2rMpds7Jvd4Syl5k5w+vG3oOdR7vRehXjTVbbiHh6F7p9eX+nPFSk3hrm6NrviSwn/uZ54b4bW4XfzoXEV90ftl3xuk91lPLXl7i/rxuaCnTez1XqQMvhBgAAAAAAAAAAAAAAAAAAAAAAAAAAAAAAAAAAAFctLCYwMlACrbby2EsaIFACXfs7rwsLutqF3dclGEMS32lKT8Kx+p4Tx3Kj4uoyuaNO2ow5qkpaeSX9Tz0WWs9CW4VJU5SqSeIpfv9Tf6vxFacScN16Om15QqRXNyPZyjF5ljD3TjnK+5AcO4HX4TxGjO5ipQk8ZWqjJ7b7Pmwk/xqd1a7hdUJqm8NfK/+HMj6aVsABtvqwMlU2ujGBkoAAAAAAAAAAAAAAAAAAAAAAAAAAAAAAAAAAAAAAAAAAAV5ny8udvI8ws5GXjAjJxlzReGGk1hhNrYoegAAAAAAAAAAAAAAAAAAAAAAAAAAAAAAAAAAAAAAAAAAAAAAAAAAAAAAAAAAAAAAAAAAAAAAAAAAAAAAAAAAAAAAAAAAAAAAAAAAAAAAAAAAAAAAAAAAAAAAAAAAAAAAAAA//9k="/>
          <p:cNvSpPr>
            <a:spLocks noChangeAspect="1" noChangeArrowheads="1"/>
          </p:cNvSpPr>
          <p:nvPr/>
        </p:nvSpPr>
        <p:spPr bwMode="auto">
          <a:xfrm>
            <a:off x="217805" y="-163722"/>
            <a:ext cx="426720" cy="3454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17539" tIns="58769" rIns="117539" bIns="58769"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400" b="1" i="0" u="none" strike="noStrike" kern="1200" cap="none" spc="0" normalizeH="0" baseline="0" noProof="0" dirty="0">
              <a:ln>
                <a:noFill/>
              </a:ln>
              <a:solidFill>
                <a:srgbClr val="002776"/>
              </a:solidFill>
              <a:effectLst/>
              <a:uLnTx/>
              <a:uFillTx/>
              <a:latin typeface="Arial" pitchFamily="34" charset="0"/>
              <a:ea typeface="+mn-ea"/>
              <a:cs typeface="Arial" pitchFamily="34" charset="0"/>
            </a:endParaRPr>
          </a:p>
        </p:txBody>
      </p:sp>
      <p:sp>
        <p:nvSpPr>
          <p:cNvPr id="6" name="AutoShape 8" descr="data:image/jpeg;base64,/9j/4AAQSkZJRgABAQAAAQABAAD/2wCEAAkGBwgHBhUIBwgVFhUWFyAZGRgYFyUfIBwiICEmIhwgKR8kHDQsHCMlHCEnITErJSksOjEuHR8zOj8xNzEwLiwBCgoKDg0OGxAQGjcmICUsLDQ3Njc4LCw3LDcsNDA1LDIuLi8wNC0vNzAvLC0sNjY3NywyLC80NCwuLy43NywsLP/AABEIALcBEwMBEQACEQEDEQH/xAAbAAEAAQUBAAAAAAAAAAAAAAAABgECBAUHA//EADUQAAIBAwIEBAUBBwUAAAAAAAABAgMEEQUhBhIxQSJRYXETMoGRoUIHFBVSgqKxI2JywfH/xAAbAQEAAgMBAQAAAAAAAAAAAAAABQYCAwQBB//EADYRAAIBAwIEBQMCBQMFAAAAAAABAgMEESExBRJBUQZhcYGhEyKRwfAUIzKx0UKS4SVicoLx/9oADAMBAAIRAxEAPwDm5cCEAAAAAAAAAAAAAAAAAAAAAAAAAAAAAAAAAAAAAAAAAAAAAAAAAAAAAAAAAAAAAAAAAAAAAAAAAAAAAAAAAAAAAAAAAAAAAAAAAAAAAAAAAAAAAAAAAAAAAAAAAAAAAAAAAMrUbCvp1wqF1HDcIz+kkn+Onumc1pd07qDnTeicl/tbX6Z9DbVoypS5Zdk/yYp0moAAAAAAAAAAAAAAAAAAAAAAAAAAAAAAAAAAAAAAAAAAAGTcWNa3s6V3UXhq83L/AEvD/JzUrqnUrVKMX90MZ/8AZZRtlSlGEZvZ5+DGOk1AAmnC/D/D2t4cL2qqkcOVKTjvjrh8vij7fgpnG+NcU4dnNKLg9prOnbKzo/h9GyZs7S2r4xJ57Ep4x4f0nUMajql46ShHlcljdZylut3lvCXmVTw7xq+ts2ttT+o5PONdO/ttnJJX1pRqfzKksYOVX6s1dNac5uC6OeMv1wlt7H1a2+u6adxjm/7c4X53+CsVfp838vbzMc6DWeltRnc3EaFJbzkor3bwvya61WNKnKpLaKbfotWZQg5yUV1K3VCdrdTt6vzQk4v3TwzyjVjWpxqQ2kk16PUTg4ScX0PI2mIAAAAAAAAAAAAAAAAAAAAAAAAAAAAAAAAAAABJOGNH0TWWre4v6lOt2i8Yl/xeOvo/yVzjXEuIWCdWnRU6ffXK9V28/wA4JGzt7ev9spNS/v6E/wBW4Wsb3Q6Wn1a7hGgtp7Zwlh5ztv1fsfPuH+IrmhfVbiMOZ1f9OvfTGNdNkTtexpzoxpt4Uepy7W6OlW1z8HSbmdRLrOSST9tt16/+n1Ph1W8q0+e6goN7JZbXr09vz2K1cxowly0m35/4NaSJzEi4Q1Wz0KdXUbmPNPl5KcF3b3k2/wBKWEs+rK9x/h1fiMadrTfLDOZS7Y2SXVvLftq9iQsK8LfmqS1eyRsq/F8Ne0atpusUowlJc1OcflynmMX5dMZ9d8dSMo+GXw28pXVnJuK0knvh6NrbPfHlpnY6ZcRVxSlTqrD6MhZdCGL6Xw/ir4yfLnfHXHpkxnzcr5N/PY9jjP3bHRuD+G9ErXENW07UJ1OR55JJJp4eMrth7r2PnHiHjvEadOdncUVHmWOZNtNZ1w/Pbus6pFhsbO3clVpyzjoV4w4b0WncT1bUdQnT538kUm28JbLq2+v1PPDvHeITpws7eip8vVtrCz1flt3fTIvrKgpOrUljJzit8P4r+Any525uuPXB9Hhzcq59+uNvYr8uXP27FhmYgAAAAAAAAAAAAAAAAAAAAAAAAAAAAAAAAAA2vC9aztdZjeajPEKWZ4xlya+VJefM0/oyK41SuK1nKjbr7p/b2ST/AKm/LGUdVnKEKqnU2Wv+CV0eP6N9cVLTVrNRoVE4px3lFNYef5vpjHqVSp4NnbQhWtKmasGnropNa6dvfOeuCUjxaNSThUWIv96kBqw+HVdPnTw2sro8d16F+hLmipYxn4IKSw2i0yPAAAAAACV8N8QW3DeiTnRgp3FWWy7RjHaPM/fLwu2OhVOMcFq8WvIRm+WjBe8m98eySy+uyepKWl3C1otrWT+PUrxFxDbcSaHF3EFC4pSzjtOL2lyvtvh4fl3POEcEq8JvZKm+ajUXvFrVZ9srK90j26vIXVFZ0kvn0ImWwigAAAAAAAAAAAAAAAAAAAAAAAAAAAAAAAADZ22j1a+gVdWj0pzjH3z832bj92RlbiUKd/Ts3vOMn+NvylL8HTC2cqEqvZr/AJ/Q1hJnMAAAAAAAAAAAAAAAADZ8P6PV1q8lb0esacp/VLwr6yaX3IzivEoWFKNSfWUY/l6v2jlnTa2zrycV0Tf+Pk1hJnMAAAAAAAAAAAAAAAAAAAAAAAAAAAADaaFeaZbXHLrGnKrTfVqUlKPtiSTXo/uRfE7a8rU82dbkmvJNP1ym16r8HTbVKUZYqxyvfJ1+z0nTI6R+421tijNZcd9+b3eU/wDB8eueJXrvPr1J/wA2DxnTTHpp+jLXTt6SpckV9r9evycs4puNFjcSs9F0xQ5XiVSTlltPdKLlsvff2PqvBKHEXTVa9r82VlRSjhZ7tLV+mnqVq9nQUnClDGOupHywHAAAAAAAAAAAAAADIsLijbXKqXNpGrHvCTaz9U8p/f2Oe6o1KtNxp1HCXRpJ49msNfj1RspTjGWZRyjrvCFvorsf4jolm6aqbPLefC+m7ffyPkHiGvxFV/4W9qc3LqsYxr10S6d9i1WMKHJ9SlHGfUifGy4f0iu7W00hOtLxOUpT5Y5745vE/RbL8Fu8NPit9TVetcYpLRJKOXju8aL5fluRfEFbUXyxh93vj+5Bi8kKAAAAAAAAAAAAAAAAAAAAAAAAAAAe1nKjG6jK6i3BSTkl1aT3X1Wxqrqo6UlTeJYePJ9H7GdNxU05bEiueOtZq6mrujUUIrZUuscev8z9dvTBXKPhHh8LZ0Jrmk95f6s+Xb01z1yd8+K13U51ou3T3NNrl5R1HVJ3tClyfE8Tj5Sa8W/dOWX26k1w21na20aE5c3Lon3S/p06YWF7HJc1I1KjnFYz+2YB3GgAAAAAAAAAAAAAAAkdfiy8o6fS07SJulTpJeJfNOXWTfknLLx989Cu0/DtvUuKl1drnnNvR7RWyS7tLCz+MEhLiE4wjTpaJfJi8Q65/Ho069xRUa0E4Sa6SXWL9Gnnb1+h08J4SuGupTpyzTk8pPeL2a81tjr37mu6uv4hRlJfctPU0xMnGAAAAAAAAAAAAAAAAAAAAAAAAAAAAAAAAAAAAAAAAAAAAAAAAAAAAAAAAAAAAAAAAAAAAAAAAAAAAAAMpdWAb+10F1uDqusY3jUWP+C2l/dL+wga3F1T4vTsejg8/wDk9V8Rf+474WmbWVXrn4/b+CP5XmT2DgKgAAAAAAAAAAAAAAAAAAG94N0WOu6pKhUfhjTk2/Jtcsf7nn+kgvEPFXw21VVbuUV7ZzL4TXud1ha/XqOL2w/+DR1IypVHTqrEk8NeTXVfcnIyU4qUdU9TjlFxeGUPTEAAAAAAAAAAAAAAAAAAAAAAAA2/D2v3eiV80YKcG/FTktn7eT9V+SJ4rwijxCniTcZLaS0a9e68vw0ddrdzoS0WV2O1QUORQcEsr5f8/k+JTcudzUm8PfX2/sW9YxjByDi7X7vUr2dnKkqdOE3Hkj3cXjLfff6f5PsXAeEULWjGspOcpJPmfZr/AErp/d/BVb67nUm4Ywk9v8kdLCR4AAAAAAAAAAAAAAAAMiwvbjT7pXNpUxJfVP0afVGi5tqVzTdKqsp+34e6NlKrKnLmjudj4V1J6rosb+tbRpuTaeOjw8ZXll9j4zx6x/g72VvCbmks67rKzh+i1zoW2yrfVpKo1jJGv2h69dafcLTrOhGHPDmdTHieW00tvD03fX2LP4R4TRuaX8VVm5crxy64WMb999Ft69I7il1Ok/pxWMrc5yfRivgAAAAAAAAAAAAAAAAAAAAAAAHvZXH7peQuVTUnCSkk+ja3WfTJpuKP1qUqWccyayt9d8eZnTnyTUsbGRW1rUq2p/xKd5L4q6STxj0S6JenQ5qfC7Snbfwsaa+n27+b6589zbK6qyqfUctTy1S+nqV9K8rQSlLHNjo3jDeO2cZ98m2ytI2lGNGDbjHbPRZ0Xtt6GFaq6s3NrVmKdRqAAAAAAAAAAAAAAAAAANhqGsXd9a07OU+WlTilGC6bfqfnJvfL89sEfa8NoW9WddLM5ttye+vRdktsfnJ0VbmdSKhsl0Goaxd6laU6F9PndPKjN/Nh42b/AFdNm9+vU9tOG0LSrOpQXKp4yumV1S6Zzr0226qtzOrBRnrjqa87znAAAAAAAAAAAAAAAAAAAAAAAAAAAAAAAAAAAAAAAAAAAAAAAAAAAAAAAAAAAAAAAAAAAAAAAAAAAAAAMuz02/voOdlZ1KiWz5It4+3Q5bi+trZpVqijnu0s/k2woVKizCLZKrDhS5nwbXqVrSSrOalCLi+bEPTrlqUvfYql14joR4xRhConS5Wm8rGZee2nLH01JSlYSdpNuP3Z/t+2Re60jUrSj8a7sKkIrvKDS+7RaKHErOvPkpVYyfZNN/BGTt6sFmUWkYR2mkAAAAAAAAAAAAAHtaWlze1fhWlCU5YziKy/sjTXuKVCHPVkoru3hfkzhTlN4issl3BXC1zXv6j1WynCCpSiueLWXNcu2VviOfwVHxH4ho0qEP4WopS54t4aekXnXHdpfJK8PsZSnL6kWlh/JHqvD2s0W1PTKuI5y+R4275x09Sw0+NcPqY5a8cvGnMs69MZ3OCVnXTf2P8ADNYSZzAAAAAAAAAAAAAAAAAAAAAAAAAAAGXpd7e2F9GtptVxqZwsd89mu6b7M5L21t7mi6dxFOPn080+mO5uoValOadN6na/4pZ0LuGn3d3BVpRzy5xl9/bL6JvL9T4k+HXFSlO5o026Sb18v1x1a0XXBcPrwjJU5SXMzkvGN7qFzrtSjqVXPw5uMYraKXbC9Vh56n13w/a2lGxpzto454pt7tvrl+Tyuy6Iq1/VqyrONR7M0ZNnEAAAAAAAAAAAAAC6nUnSqKpSm008pp4afmn2MZwjOLjJZT6PXJ7GTi8o6/oWufA4bo3nEN5GMqnRvZtZxF4Xpu30Se58e4rwj6vEqtDh1NtR3S1SeNcZ89Et29i2W9zy0Izryw2Rf9p19f8A77C0Vf8A0JQU4qPSTzvl/qxs123XuWrwVZ230JVuX+bGTTzuvRdOz67+hG8Xq1OZRz9rRBi8kIAAAAAAAAAAAAAAAAAAAAAAAAAAAelvWqW1eNejLEovKeOjXR/RmurSjVg6c1lNYfmnuZQm4SUlui2pUnVqOpVm228tt5bfnnuZQhGEVGKwl07Hjk5PLPS6uq95V+Lc1HKWEuZ9XhYWX3eNsvyNdGhToR5Kawst46a6vHbXUynUlN5k9TxNxgXzpVIU41JQaUs4fnjZ/kwU4uTinqt/LJk4tJN9SwzMQAAAAAAAVhGU5qEFlt4SPJNRWXsepNvCK1ISp1HTnHDTw15NdRGSklJbMNNPDLT08Pa6uq93UU7io3hKK8klskl2S8kaaNCnRi401jLbfm3u33bM51JTeZMVLqvUto21So3GDbin+nPXHknjoI0KcakqsViUsZffG2fTIdSTiot6I8TcYAAAAAAAAAAAAAAAAAAAAAAAAAAAAAAAA3uicLXet0HUsLug2vmi5NSj7rk/K2ILiXiChw6fLXpzw9mkmn6Pm+Hhndb2E68cwkvn/BMtZ4LrXXD1tZWcoKpR+ZttJ8yzPfG/jxjbpkpnDvFVOjxC4r1k+SpjGMNrl0jpnH9O+u5L1+GudCEI7x/Xf5IDrWk1NHuf3a4uqUp9405N8vvmKSfp1L/w7iMb6n9WnCUY9HJJZ9NW/fbsQVxbuhLlck35GuJE5wAXVKc6cuWpFp4T38msp/VPJjGcZLMXndfh4f4aweuLW5aZHhdTip1FGVRRT7vOF9k39kYzk4xbSz5LGv5aXyj2Ky8N4Jzw1wReU9To39e4ozpKSnmE2843jjw4fix38yi8Z8WUHbVbaEJxqNOP3JLGdHnVvbJN2nC5qpGo2mt9CvE3BF5V1StqFvXowpSfPmc3HGd5Z8OF4s9zzgviy3jbUrapCcqiXL9qTzjbGudsC74ZOVSVSLSW+vyQarBU6jhGopYfVZw/bKT+6L1Tk5RUmsZ6PGV64bXyyEksPCeSwzPAAAAAAAAAAAAAAAAAAAAAAAAAAAAAAAAAAAbvgyDfEVOq6/JGGZzlzYxGO7y/JvEX7kJ4hl/0+pBQ5pS+2KxnLe2F3Wr8sHbw9fz084S1ft+8E/hxfpOsVKmmULmVNyi406r8Kbawmn1i89M4/wCj5+/DF7Yxp3c4Kai05RWuEn1Wz03xnHpqTi4jRrOVOLxnZ7HJ6sJ06jhVWJJtNPz7/k+swlGUVKOz2/Qq8k02nuWmR4SbTOCdQ1OjG4trmjKnJrMozeV57cuzXkytXvim0s5ypVYyU10a37a52fdElR4ZUqpSi00SXjHg261O/hcaVyJKmoSUnj5do9v5dvois+HvFNC1oSp3beeZtYWf6tX175fuSN9w2VWalTxtj8HPL+0djdO3lXhNrq4PKz5Zxv8AQ+h2twrimqii4p91h/jp7kBVp/Tly5T9DHOg1k74J1S24f0GpfahXlipPFOknly5Vu0u2W8N/wC1FE8S8OrcUvqdvbwX2rMpds7Jvd4Syl5k5w+vG3oOdR7vRehXjTVbbiHh6F7p9eX+nPFSk3hrm6NrviSwn/uZ54b4bW4XfzoXEV90ftl3xuk91lPLXl7i/rxuaCnTez1XqQMvhBgAAAAAAAAAAAAAAAAAAAAAAAAAAAAAAAAAAAFctLCYwMlACrbby2EsaIFACXfs7rwsLutqF3dclGEMS32lKT8Kx+p4Tx3Kj4uoyuaNO2ow5qkpaeSX9Tz0WWs9CW4VJU5SqSeIpfv9Tf6vxFacScN16Om15QqRXNyPZyjF5ljD3TjnK+5AcO4HX4TxGjO5ipQk8ZWqjJ7b7Pmwk/xqd1a7hdUJqm8NfK/+HMj6aVsABtvqwMlU2ujGBkoAAAAAAAAAAAAAAAAAAAAAAAAAAAAAAAAAAAAAAAAAAAV5ny8udvI8ws5GXjAjJxlzReGGk1hhNrYoegAAAAAAAAAAAAAAAAAAAAAAAAAAAAAAAAAAAAAAAAAAAAAAAAAAAAAAAAAAAAAAAAAAAAAAAAAAAAAAAAAAAAAAAAAAAAAAAAAAAAAAAAAAAAAAAAAAAAAAAAAAAAAAAAA//9k="/>
          <p:cNvSpPr>
            <a:spLocks noChangeAspect="1" noChangeArrowheads="1"/>
          </p:cNvSpPr>
          <p:nvPr/>
        </p:nvSpPr>
        <p:spPr bwMode="auto">
          <a:xfrm>
            <a:off x="431165" y="8998"/>
            <a:ext cx="426720" cy="3454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17539" tIns="58769" rIns="117539" bIns="58769"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400" b="1" i="0" u="none" strike="noStrike" kern="1200" cap="none" spc="0" normalizeH="0" baseline="0" noProof="0" dirty="0">
              <a:ln>
                <a:noFill/>
              </a:ln>
              <a:solidFill>
                <a:srgbClr val="002776"/>
              </a:solidFill>
              <a:effectLst/>
              <a:uLnTx/>
              <a:uFillTx/>
              <a:latin typeface="Arial" pitchFamily="34" charset="0"/>
              <a:ea typeface="+mn-ea"/>
              <a:cs typeface="Arial" pitchFamily="34" charset="0"/>
            </a:endParaRPr>
          </a:p>
        </p:txBody>
      </p:sp>
      <p:sp>
        <p:nvSpPr>
          <p:cNvPr id="14" name="TextBox 13"/>
          <p:cNvSpPr txBox="1"/>
          <p:nvPr/>
        </p:nvSpPr>
        <p:spPr>
          <a:xfrm>
            <a:off x="7959477" y="7377193"/>
            <a:ext cx="4594789" cy="253916"/>
          </a:xfrm>
          <a:prstGeom prst="rect">
            <a:avLst/>
          </a:prstGeom>
          <a:noFill/>
        </p:spPr>
        <p:txBody>
          <a:bodyPr wrap="square" rtlCol="0">
            <a:spAutoFit/>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sz="1050" b="0" i="0" u="none" strike="noStrike" kern="1200" cap="none" spc="0" normalizeH="0" baseline="0" noProof="0" dirty="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Sources: Deloitte Thought Leadership Materials</a:t>
            </a:r>
          </a:p>
        </p:txBody>
      </p:sp>
      <p:sp>
        <p:nvSpPr>
          <p:cNvPr id="4" name="Title 3"/>
          <p:cNvSpPr>
            <a:spLocks noGrp="1"/>
          </p:cNvSpPr>
          <p:nvPr>
            <p:ph type="title"/>
          </p:nvPr>
        </p:nvSpPr>
        <p:spPr>
          <a:xfrm>
            <a:off x="554508" y="399121"/>
            <a:ext cx="11662258" cy="423193"/>
          </a:xfrm>
        </p:spPr>
        <p:txBody>
          <a:bodyPr/>
          <a:lstStyle/>
          <a:p>
            <a:r>
              <a:rPr lang="en-US" sz="24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Risk Evaluation … The Buck Stops Here</a:t>
            </a:r>
            <a:endPar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3715820903"/>
              </p:ext>
            </p:extLst>
          </p:nvPr>
        </p:nvGraphicFramePr>
        <p:xfrm>
          <a:off x="3709645" y="2681137"/>
          <a:ext cx="8554097" cy="1493653"/>
        </p:xfrm>
        <a:graphic>
          <a:graphicData uri="http://schemas.openxmlformats.org/drawingml/2006/table">
            <a:tbl>
              <a:tblPr firstRow="1" firstCol="1" bandRow="1">
                <a:tableStyleId>{5C22544A-7EE6-4342-B048-85BDC9FD1C3A}</a:tableStyleId>
              </a:tblPr>
              <a:tblGrid>
                <a:gridCol w="8554097">
                  <a:extLst>
                    <a:ext uri="{9D8B030D-6E8A-4147-A177-3AD203B41FA5}">
                      <a16:colId xmlns:a16="http://schemas.microsoft.com/office/drawing/2014/main" xmlns="" val="1827033670"/>
                    </a:ext>
                  </a:extLst>
                </a:gridCol>
              </a:tblGrid>
              <a:tr h="1493653">
                <a:tc>
                  <a:txBody>
                    <a:bodyPr/>
                    <a:lstStyle/>
                    <a:p>
                      <a:pPr marL="171450" marR="135255" lvl="0" indent="-171450" algn="just" fontAlgn="base">
                        <a:lnSpc>
                          <a:spcPct val="103000"/>
                        </a:lnSpc>
                        <a:spcBef>
                          <a:spcPts val="0"/>
                        </a:spcBef>
                        <a:spcAft>
                          <a:spcPts val="205"/>
                        </a:spcAft>
                        <a:buClr>
                          <a:schemeClr val="bg1"/>
                        </a:buClr>
                        <a:buSzPts val="1050"/>
                        <a:buFont typeface="Arial" panose="020B0604020202020204" pitchFamily="34" charset="0"/>
                        <a:buChar char="•"/>
                      </a:pPr>
                      <a:r>
                        <a:rPr lang="en-ZA" sz="1400" u="none" strike="noStrike" dirty="0">
                          <a:solidFill>
                            <a:schemeClr val="bg1"/>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rPr>
                        <a:t>Incorporate risk-informed decision making </a:t>
                      </a:r>
                      <a:endParaRPr lang="en-ZA" sz="1400" u="none" strike="noStrike" dirty="0" smtClean="0">
                        <a:solidFill>
                          <a:schemeClr val="bg1"/>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p>
                      <a:pPr marL="171450" marR="135255" lvl="0" indent="-171450" algn="just" fontAlgn="base">
                        <a:lnSpc>
                          <a:spcPct val="103000"/>
                        </a:lnSpc>
                        <a:spcBef>
                          <a:spcPts val="0"/>
                        </a:spcBef>
                        <a:spcAft>
                          <a:spcPts val="205"/>
                        </a:spcAft>
                        <a:buClr>
                          <a:schemeClr val="bg1"/>
                        </a:buClr>
                        <a:buSzPts val="1050"/>
                        <a:buFont typeface="Arial" panose="020B0604020202020204" pitchFamily="34" charset="0"/>
                        <a:buChar char="•"/>
                      </a:pPr>
                      <a:r>
                        <a:rPr lang="en-ZA" sz="1400" u="none" strike="noStrike" dirty="0" smtClean="0">
                          <a:solidFill>
                            <a:schemeClr val="bg1"/>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rPr>
                        <a:t>Define </a:t>
                      </a:r>
                      <a:r>
                        <a:rPr lang="en-ZA" sz="1400" u="none" strike="noStrike" dirty="0">
                          <a:solidFill>
                            <a:schemeClr val="bg1"/>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rPr>
                        <a:t>risk appetite and escalate risks outside of tolerance </a:t>
                      </a:r>
                      <a:endParaRPr lang="en-ZA" sz="1400" u="none" strike="noStrike" dirty="0" smtClean="0">
                        <a:solidFill>
                          <a:schemeClr val="bg1"/>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p>
                      <a:pPr marL="171450" marR="135255" lvl="0" indent="-171450" algn="just" fontAlgn="base">
                        <a:lnSpc>
                          <a:spcPct val="107000"/>
                        </a:lnSpc>
                        <a:spcBef>
                          <a:spcPts val="0"/>
                        </a:spcBef>
                        <a:spcAft>
                          <a:spcPts val="0"/>
                        </a:spcAft>
                        <a:buClr>
                          <a:schemeClr val="bg1"/>
                        </a:buClr>
                        <a:buSzPts val="1050"/>
                        <a:buFont typeface="Arial" panose="020B0604020202020204" pitchFamily="34" charset="0"/>
                        <a:buChar char="•"/>
                      </a:pPr>
                      <a:r>
                        <a:rPr lang="en-ZA" sz="1400" u="none" strike="noStrike" dirty="0" smtClean="0">
                          <a:solidFill>
                            <a:schemeClr val="bg1"/>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rPr>
                        <a:t>Mitigate </a:t>
                      </a:r>
                      <a:r>
                        <a:rPr lang="en-ZA" sz="1400" u="none" strike="noStrike" dirty="0">
                          <a:solidFill>
                            <a:schemeClr val="bg1"/>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rPr>
                        <a:t>risks, as appropriate </a:t>
                      </a:r>
                    </a:p>
                  </a:txBody>
                  <a:tcPr marR="20574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2166837879"/>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4082891806"/>
              </p:ext>
            </p:extLst>
          </p:nvPr>
        </p:nvGraphicFramePr>
        <p:xfrm>
          <a:off x="3709645" y="4330520"/>
          <a:ext cx="8554097" cy="1408834"/>
        </p:xfrm>
        <a:graphic>
          <a:graphicData uri="http://schemas.openxmlformats.org/drawingml/2006/table">
            <a:tbl>
              <a:tblPr firstRow="1" firstCol="1" bandRow="1">
                <a:tableStyleId>{5C22544A-7EE6-4342-B048-85BDC9FD1C3A}</a:tableStyleId>
              </a:tblPr>
              <a:tblGrid>
                <a:gridCol w="8554097">
                  <a:extLst>
                    <a:ext uri="{9D8B030D-6E8A-4147-A177-3AD203B41FA5}">
                      <a16:colId xmlns:a16="http://schemas.microsoft.com/office/drawing/2014/main" xmlns="" val="4016268204"/>
                    </a:ext>
                  </a:extLst>
                </a:gridCol>
              </a:tblGrid>
              <a:tr h="1408834">
                <a:tc>
                  <a:txBody>
                    <a:bodyPr/>
                    <a:lstStyle/>
                    <a:p>
                      <a:pPr marL="171450" marR="135255" lvl="0" indent="-171450" algn="just" defTabSz="1175513" rtl="0" eaLnBrk="1" fontAlgn="base" latinLnBrk="0" hangingPunct="1">
                        <a:lnSpc>
                          <a:spcPct val="107000"/>
                        </a:lnSpc>
                        <a:spcBef>
                          <a:spcPts val="0"/>
                        </a:spcBef>
                        <a:spcAft>
                          <a:spcPts val="155"/>
                        </a:spcAft>
                        <a:buClr>
                          <a:schemeClr val="bg1"/>
                        </a:buClr>
                        <a:buSzPts val="1050"/>
                        <a:buFont typeface="Arial" panose="020B0604020202020204" pitchFamily="34" charset="0"/>
                        <a:buChar char="•"/>
                      </a:pPr>
                      <a:r>
                        <a:rPr lang="en-ZA" sz="1400" b="1" u="none" strike="noStrike" kern="1200" dirty="0">
                          <a:solidFill>
                            <a:schemeClr val="bg1"/>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rPr>
                        <a:t>Establish governance and oversight </a:t>
                      </a:r>
                    </a:p>
                    <a:p>
                      <a:pPr marL="171450" marR="135255" lvl="0" indent="-171450" algn="just" defTabSz="1175513" rtl="0" eaLnBrk="1" fontAlgn="base" latinLnBrk="0" hangingPunct="1">
                        <a:lnSpc>
                          <a:spcPct val="107000"/>
                        </a:lnSpc>
                        <a:spcBef>
                          <a:spcPts val="0"/>
                        </a:spcBef>
                        <a:spcAft>
                          <a:spcPts val="140"/>
                        </a:spcAft>
                        <a:buClr>
                          <a:schemeClr val="bg1"/>
                        </a:buClr>
                        <a:buSzPts val="1050"/>
                        <a:buFont typeface="Arial" panose="020B0604020202020204" pitchFamily="34" charset="0"/>
                        <a:buChar char="•"/>
                      </a:pPr>
                      <a:r>
                        <a:rPr lang="en-ZA" sz="1400" b="1" u="none" strike="noStrike" kern="1200" dirty="0">
                          <a:solidFill>
                            <a:schemeClr val="bg1"/>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rPr>
                        <a:t>Set risk baselines, policies, and standards </a:t>
                      </a:r>
                    </a:p>
                    <a:p>
                      <a:pPr marL="171450" marR="135255" lvl="0" indent="-171450" algn="just" defTabSz="1175513" rtl="0" eaLnBrk="1" fontAlgn="base" latinLnBrk="0" hangingPunct="1">
                        <a:lnSpc>
                          <a:spcPct val="107000"/>
                        </a:lnSpc>
                        <a:spcBef>
                          <a:spcPts val="0"/>
                        </a:spcBef>
                        <a:spcAft>
                          <a:spcPts val="155"/>
                        </a:spcAft>
                        <a:buClr>
                          <a:schemeClr val="bg1"/>
                        </a:buClr>
                        <a:buSzPts val="1050"/>
                        <a:buFont typeface="Arial" panose="020B0604020202020204" pitchFamily="34" charset="0"/>
                        <a:buChar char="•"/>
                      </a:pPr>
                      <a:r>
                        <a:rPr lang="en-ZA" sz="1400" b="1" u="none" strike="noStrike" kern="1200" dirty="0">
                          <a:solidFill>
                            <a:schemeClr val="bg1"/>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rPr>
                        <a:t>Implement tools and processes </a:t>
                      </a:r>
                    </a:p>
                    <a:p>
                      <a:pPr marL="171450" marR="135255" lvl="0" indent="-171450" algn="just" defTabSz="1175513" rtl="0" eaLnBrk="1" fontAlgn="base" latinLnBrk="0" hangingPunct="1">
                        <a:lnSpc>
                          <a:spcPct val="107000"/>
                        </a:lnSpc>
                        <a:spcBef>
                          <a:spcPts val="0"/>
                        </a:spcBef>
                        <a:spcAft>
                          <a:spcPts val="155"/>
                        </a:spcAft>
                        <a:buClr>
                          <a:schemeClr val="bg1"/>
                        </a:buClr>
                        <a:buSzPts val="1050"/>
                        <a:buFont typeface="Arial" panose="020B0604020202020204" pitchFamily="34" charset="0"/>
                        <a:buChar char="•"/>
                      </a:pPr>
                      <a:r>
                        <a:rPr lang="en-ZA" sz="1400" b="1" u="none" strike="noStrike" kern="1200" dirty="0">
                          <a:solidFill>
                            <a:schemeClr val="bg1"/>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rPr>
                        <a:t>Monitor and call for action, as appropriate </a:t>
                      </a:r>
                    </a:p>
                  </a:txBody>
                  <a:tcPr marR="346710" marT="1778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B892D"/>
                    </a:solidFill>
                  </a:tcPr>
                </a:tc>
                <a:extLst>
                  <a:ext uri="{0D108BD9-81ED-4DB2-BD59-A6C34878D82A}">
                    <a16:rowId xmlns:a16="http://schemas.microsoft.com/office/drawing/2014/main" xmlns="" val="2349761684"/>
                  </a:ext>
                </a:extLst>
              </a:tr>
            </a:tbl>
          </a:graphicData>
        </a:graphic>
      </p:graphicFrame>
      <p:grpSp>
        <p:nvGrpSpPr>
          <p:cNvPr id="30" name="Group 29"/>
          <p:cNvGrpSpPr/>
          <p:nvPr/>
        </p:nvGrpSpPr>
        <p:grpSpPr>
          <a:xfrm>
            <a:off x="644525" y="2250389"/>
            <a:ext cx="11781294" cy="5072232"/>
            <a:chOff x="0" y="0"/>
            <a:chExt cx="10352243" cy="3836968"/>
          </a:xfrm>
        </p:grpSpPr>
        <p:sp>
          <p:nvSpPr>
            <p:cNvPr id="32" name="Shape 290"/>
            <p:cNvSpPr/>
            <p:nvPr/>
          </p:nvSpPr>
          <p:spPr>
            <a:xfrm>
              <a:off x="0" y="315829"/>
              <a:ext cx="2594788" cy="1139050"/>
            </a:xfrm>
            <a:custGeom>
              <a:avLst/>
              <a:gdLst/>
              <a:ahLst/>
              <a:cxnLst/>
              <a:rect l="0" t="0" r="0" b="0"/>
              <a:pathLst>
                <a:path w="2594788" h="1139050">
                  <a:moveTo>
                    <a:pt x="0" y="0"/>
                  </a:moveTo>
                  <a:lnTo>
                    <a:pt x="2594788" y="0"/>
                  </a:lnTo>
                  <a:lnTo>
                    <a:pt x="2310029" y="1139050"/>
                  </a:lnTo>
                  <a:lnTo>
                    <a:pt x="284759" y="1139050"/>
                  </a:lnTo>
                  <a:lnTo>
                    <a:pt x="0" y="0"/>
                  </a:lnTo>
                  <a:close/>
                </a:path>
              </a:pathLst>
            </a:custGeom>
            <a:ln w="0" cap="flat">
              <a:miter lim="127000"/>
            </a:ln>
          </p:spPr>
          <p:style>
            <a:lnRef idx="0">
              <a:srgbClr val="000000">
                <a:alpha val="0"/>
              </a:srgbClr>
            </a:lnRef>
            <a:fillRef idx="1">
              <a:srgbClr val="3B892D"/>
            </a:fillRef>
            <a:effectRef idx="0">
              <a:scrgbClr r="0" g="0" b="0"/>
            </a:effectRef>
            <a:fontRef idx="none"/>
          </p:style>
          <p:txBody>
            <a:bodyPr/>
            <a:lstStyle/>
            <a:p>
              <a:endParaRPr lang="en-ZA">
                <a:solidFill>
                  <a:schemeClr val="bg1"/>
                </a:solidFill>
              </a:endParaRPr>
            </a:p>
          </p:txBody>
        </p:sp>
        <p:sp>
          <p:nvSpPr>
            <p:cNvPr id="33" name="Shape 291"/>
            <p:cNvSpPr/>
            <p:nvPr/>
          </p:nvSpPr>
          <p:spPr>
            <a:xfrm>
              <a:off x="288857" y="1506875"/>
              <a:ext cx="2017078" cy="1139050"/>
            </a:xfrm>
            <a:custGeom>
              <a:avLst/>
              <a:gdLst/>
              <a:ahLst/>
              <a:cxnLst/>
              <a:rect l="0" t="0" r="0" b="0"/>
              <a:pathLst>
                <a:path w="2017078" h="1139050">
                  <a:moveTo>
                    <a:pt x="0" y="0"/>
                  </a:moveTo>
                  <a:lnTo>
                    <a:pt x="2017078" y="0"/>
                  </a:lnTo>
                  <a:lnTo>
                    <a:pt x="1732318" y="1139050"/>
                  </a:lnTo>
                  <a:lnTo>
                    <a:pt x="284759" y="1139050"/>
                  </a:lnTo>
                  <a:lnTo>
                    <a:pt x="0" y="0"/>
                  </a:lnTo>
                  <a:close/>
                </a:path>
              </a:pathLst>
            </a:custGeom>
            <a:ln w="0" cap="flat">
              <a:miter lim="127000"/>
            </a:ln>
          </p:spPr>
          <p:style>
            <a:lnRef idx="0">
              <a:srgbClr val="000000">
                <a:alpha val="0"/>
              </a:srgbClr>
            </a:lnRef>
            <a:fillRef idx="1">
              <a:srgbClr val="001F5F"/>
            </a:fillRef>
            <a:effectRef idx="0">
              <a:scrgbClr r="0" g="0" b="0"/>
            </a:effectRef>
            <a:fontRef idx="none"/>
          </p:style>
          <p:txBody>
            <a:bodyPr/>
            <a:lstStyle/>
            <a:p>
              <a:endParaRPr lang="en-ZA">
                <a:solidFill>
                  <a:schemeClr val="bg1"/>
                </a:solidFill>
              </a:endParaRPr>
            </a:p>
          </p:txBody>
        </p:sp>
        <p:sp>
          <p:nvSpPr>
            <p:cNvPr id="34" name="Shape 292"/>
            <p:cNvSpPr/>
            <p:nvPr/>
          </p:nvSpPr>
          <p:spPr>
            <a:xfrm>
              <a:off x="569006" y="2697918"/>
              <a:ext cx="1456779" cy="1139050"/>
            </a:xfrm>
            <a:custGeom>
              <a:avLst/>
              <a:gdLst/>
              <a:ahLst/>
              <a:cxnLst/>
              <a:rect l="0" t="0" r="0" b="0"/>
              <a:pathLst>
                <a:path w="1456779" h="1139050">
                  <a:moveTo>
                    <a:pt x="0" y="0"/>
                  </a:moveTo>
                  <a:lnTo>
                    <a:pt x="1456779" y="0"/>
                  </a:lnTo>
                  <a:lnTo>
                    <a:pt x="1172020" y="1139050"/>
                  </a:lnTo>
                  <a:lnTo>
                    <a:pt x="284759" y="1139050"/>
                  </a:lnTo>
                  <a:lnTo>
                    <a:pt x="0" y="0"/>
                  </a:lnTo>
                  <a:close/>
                </a:path>
              </a:pathLst>
            </a:custGeom>
            <a:ln w="0" cap="flat">
              <a:miter lim="127000"/>
            </a:ln>
          </p:spPr>
          <p:style>
            <a:lnRef idx="0">
              <a:srgbClr val="000000">
                <a:alpha val="0"/>
              </a:srgbClr>
            </a:lnRef>
            <a:fillRef idx="1">
              <a:srgbClr val="3B892D"/>
            </a:fillRef>
            <a:effectRef idx="0">
              <a:scrgbClr r="0" g="0" b="0"/>
            </a:effectRef>
            <a:fontRef idx="none"/>
          </p:style>
          <p:txBody>
            <a:bodyPr/>
            <a:lstStyle/>
            <a:p>
              <a:endParaRPr lang="en-ZA">
                <a:solidFill>
                  <a:schemeClr val="bg1"/>
                </a:solidFill>
              </a:endParaRPr>
            </a:p>
          </p:txBody>
        </p:sp>
        <p:sp>
          <p:nvSpPr>
            <p:cNvPr id="35" name="Shape 293"/>
            <p:cNvSpPr/>
            <p:nvPr/>
          </p:nvSpPr>
          <p:spPr>
            <a:xfrm>
              <a:off x="697461" y="356635"/>
              <a:ext cx="400647" cy="225476"/>
            </a:xfrm>
            <a:custGeom>
              <a:avLst/>
              <a:gdLst/>
              <a:ahLst/>
              <a:cxnLst/>
              <a:rect l="0" t="0" r="0" b="0"/>
              <a:pathLst>
                <a:path w="400647" h="225476">
                  <a:moveTo>
                    <a:pt x="100165" y="0"/>
                  </a:moveTo>
                  <a:lnTo>
                    <a:pt x="300495" y="0"/>
                  </a:lnTo>
                  <a:lnTo>
                    <a:pt x="300495" y="84544"/>
                  </a:lnTo>
                  <a:lnTo>
                    <a:pt x="400647" y="84544"/>
                  </a:lnTo>
                  <a:lnTo>
                    <a:pt x="200330" y="225476"/>
                  </a:lnTo>
                  <a:lnTo>
                    <a:pt x="0" y="84544"/>
                  </a:lnTo>
                  <a:lnTo>
                    <a:pt x="100165" y="84544"/>
                  </a:lnTo>
                  <a:lnTo>
                    <a:pt x="100165" y="0"/>
                  </a:lnTo>
                  <a:close/>
                </a:path>
              </a:pathLst>
            </a:custGeom>
            <a:ln w="0" cap="flat">
              <a:miter lim="127000"/>
            </a:ln>
          </p:spPr>
          <p:style>
            <a:lnRef idx="0">
              <a:srgbClr val="000000">
                <a:alpha val="0"/>
              </a:srgbClr>
            </a:lnRef>
            <a:fillRef idx="1">
              <a:srgbClr val="EBEBEB">
                <a:alpha val="47843"/>
              </a:srgbClr>
            </a:fillRef>
            <a:effectRef idx="0">
              <a:scrgbClr r="0" g="0" b="0"/>
            </a:effectRef>
            <a:fontRef idx="none"/>
          </p:style>
          <p:txBody>
            <a:bodyPr/>
            <a:lstStyle/>
            <a:p>
              <a:endParaRPr lang="en-ZA">
                <a:solidFill>
                  <a:schemeClr val="bg1"/>
                </a:solidFill>
              </a:endParaRPr>
            </a:p>
          </p:txBody>
        </p:sp>
        <p:sp>
          <p:nvSpPr>
            <p:cNvPr id="36" name="Shape 294"/>
            <p:cNvSpPr/>
            <p:nvPr/>
          </p:nvSpPr>
          <p:spPr>
            <a:xfrm>
              <a:off x="1148563" y="356635"/>
              <a:ext cx="400647" cy="225476"/>
            </a:xfrm>
            <a:custGeom>
              <a:avLst/>
              <a:gdLst/>
              <a:ahLst/>
              <a:cxnLst/>
              <a:rect l="0" t="0" r="0" b="0"/>
              <a:pathLst>
                <a:path w="400647" h="225476">
                  <a:moveTo>
                    <a:pt x="100165" y="0"/>
                  </a:moveTo>
                  <a:lnTo>
                    <a:pt x="300495" y="0"/>
                  </a:lnTo>
                  <a:lnTo>
                    <a:pt x="300495" y="84544"/>
                  </a:lnTo>
                  <a:lnTo>
                    <a:pt x="400647" y="84544"/>
                  </a:lnTo>
                  <a:lnTo>
                    <a:pt x="200330" y="225476"/>
                  </a:lnTo>
                  <a:lnTo>
                    <a:pt x="0" y="84544"/>
                  </a:lnTo>
                  <a:lnTo>
                    <a:pt x="100165" y="84544"/>
                  </a:lnTo>
                  <a:lnTo>
                    <a:pt x="100165" y="0"/>
                  </a:lnTo>
                  <a:close/>
                </a:path>
              </a:pathLst>
            </a:custGeom>
            <a:ln w="0" cap="flat">
              <a:miter lim="127000"/>
            </a:ln>
          </p:spPr>
          <p:style>
            <a:lnRef idx="0">
              <a:srgbClr val="000000">
                <a:alpha val="0"/>
              </a:srgbClr>
            </a:lnRef>
            <a:fillRef idx="1">
              <a:srgbClr val="EBEBEB">
                <a:alpha val="47843"/>
              </a:srgbClr>
            </a:fillRef>
            <a:effectRef idx="0">
              <a:scrgbClr r="0" g="0" b="0"/>
            </a:effectRef>
            <a:fontRef idx="none"/>
          </p:style>
          <p:txBody>
            <a:bodyPr/>
            <a:lstStyle/>
            <a:p>
              <a:endParaRPr lang="en-ZA">
                <a:solidFill>
                  <a:schemeClr val="bg1"/>
                </a:solidFill>
              </a:endParaRPr>
            </a:p>
          </p:txBody>
        </p:sp>
        <p:sp>
          <p:nvSpPr>
            <p:cNvPr id="37" name="Shape 295"/>
            <p:cNvSpPr/>
            <p:nvPr/>
          </p:nvSpPr>
          <p:spPr>
            <a:xfrm>
              <a:off x="1595219" y="356633"/>
              <a:ext cx="397675" cy="225476"/>
            </a:xfrm>
            <a:custGeom>
              <a:avLst/>
              <a:gdLst/>
              <a:ahLst/>
              <a:cxnLst/>
              <a:rect l="0" t="0" r="0" b="0"/>
              <a:pathLst>
                <a:path w="397675" h="225476">
                  <a:moveTo>
                    <a:pt x="99416" y="0"/>
                  </a:moveTo>
                  <a:lnTo>
                    <a:pt x="298260" y="0"/>
                  </a:lnTo>
                  <a:lnTo>
                    <a:pt x="298260" y="84544"/>
                  </a:lnTo>
                  <a:lnTo>
                    <a:pt x="397675" y="84544"/>
                  </a:lnTo>
                  <a:lnTo>
                    <a:pt x="198831" y="225476"/>
                  </a:lnTo>
                  <a:lnTo>
                    <a:pt x="0" y="84544"/>
                  </a:lnTo>
                  <a:lnTo>
                    <a:pt x="99416" y="84544"/>
                  </a:lnTo>
                  <a:lnTo>
                    <a:pt x="99416" y="0"/>
                  </a:lnTo>
                  <a:close/>
                </a:path>
              </a:pathLst>
            </a:custGeom>
            <a:ln w="0" cap="flat">
              <a:miter lim="127000"/>
            </a:ln>
          </p:spPr>
          <p:style>
            <a:lnRef idx="0">
              <a:srgbClr val="000000">
                <a:alpha val="0"/>
              </a:srgbClr>
            </a:lnRef>
            <a:fillRef idx="1">
              <a:srgbClr val="EBEBEB">
                <a:alpha val="47843"/>
              </a:srgbClr>
            </a:fillRef>
            <a:effectRef idx="0">
              <a:scrgbClr r="0" g="0" b="0"/>
            </a:effectRef>
            <a:fontRef idx="none"/>
          </p:style>
          <p:txBody>
            <a:bodyPr/>
            <a:lstStyle/>
            <a:p>
              <a:endParaRPr lang="en-ZA">
                <a:solidFill>
                  <a:schemeClr val="bg1"/>
                </a:solidFill>
              </a:endParaRPr>
            </a:p>
          </p:txBody>
        </p:sp>
        <p:sp>
          <p:nvSpPr>
            <p:cNvPr id="45" name="Shape 21335"/>
            <p:cNvSpPr/>
            <p:nvPr/>
          </p:nvSpPr>
          <p:spPr>
            <a:xfrm>
              <a:off x="804310" y="0"/>
              <a:ext cx="185483" cy="296672"/>
            </a:xfrm>
            <a:custGeom>
              <a:avLst/>
              <a:gdLst/>
              <a:ahLst/>
              <a:cxnLst/>
              <a:rect l="0" t="0" r="0" b="0"/>
              <a:pathLst>
                <a:path w="185483" h="296672">
                  <a:moveTo>
                    <a:pt x="0" y="0"/>
                  </a:moveTo>
                  <a:lnTo>
                    <a:pt x="185483" y="0"/>
                  </a:lnTo>
                  <a:lnTo>
                    <a:pt x="185483" y="296672"/>
                  </a:lnTo>
                  <a:lnTo>
                    <a:pt x="0" y="296672"/>
                  </a:lnTo>
                  <a:lnTo>
                    <a:pt x="0" y="0"/>
                  </a:lnTo>
                </a:path>
              </a:pathLst>
            </a:custGeom>
            <a:ln w="0" cap="flat">
              <a:miter lim="127000"/>
            </a:ln>
          </p:spPr>
          <p:style>
            <a:lnRef idx="0">
              <a:srgbClr val="000000">
                <a:alpha val="0"/>
              </a:srgbClr>
            </a:lnRef>
            <a:fillRef idx="1">
              <a:srgbClr val="EBEBEB">
                <a:alpha val="47843"/>
              </a:srgbClr>
            </a:fillRef>
            <a:effectRef idx="0">
              <a:scrgbClr r="0" g="0" b="0"/>
            </a:effectRef>
            <a:fontRef idx="none"/>
          </p:style>
          <p:txBody>
            <a:bodyPr/>
            <a:lstStyle/>
            <a:p>
              <a:endParaRPr lang="en-ZA">
                <a:solidFill>
                  <a:schemeClr val="bg1"/>
                </a:solidFill>
              </a:endParaRPr>
            </a:p>
          </p:txBody>
        </p:sp>
        <p:sp>
          <p:nvSpPr>
            <p:cNvPr id="47" name="Shape 21336"/>
            <p:cNvSpPr/>
            <p:nvPr/>
          </p:nvSpPr>
          <p:spPr>
            <a:xfrm>
              <a:off x="1255402" y="0"/>
              <a:ext cx="186969" cy="296672"/>
            </a:xfrm>
            <a:custGeom>
              <a:avLst/>
              <a:gdLst/>
              <a:ahLst/>
              <a:cxnLst/>
              <a:rect l="0" t="0" r="0" b="0"/>
              <a:pathLst>
                <a:path w="186969" h="296672">
                  <a:moveTo>
                    <a:pt x="0" y="0"/>
                  </a:moveTo>
                  <a:lnTo>
                    <a:pt x="186969" y="0"/>
                  </a:lnTo>
                  <a:lnTo>
                    <a:pt x="186969" y="296672"/>
                  </a:lnTo>
                  <a:lnTo>
                    <a:pt x="0" y="296672"/>
                  </a:lnTo>
                  <a:lnTo>
                    <a:pt x="0" y="0"/>
                  </a:lnTo>
                </a:path>
              </a:pathLst>
            </a:custGeom>
            <a:ln w="0" cap="flat">
              <a:miter lim="127000"/>
            </a:ln>
          </p:spPr>
          <p:style>
            <a:lnRef idx="0">
              <a:srgbClr val="000000">
                <a:alpha val="0"/>
              </a:srgbClr>
            </a:lnRef>
            <a:fillRef idx="1">
              <a:srgbClr val="EBEBEB">
                <a:alpha val="47843"/>
              </a:srgbClr>
            </a:fillRef>
            <a:effectRef idx="0">
              <a:scrgbClr r="0" g="0" b="0"/>
            </a:effectRef>
            <a:fontRef idx="none"/>
          </p:style>
          <p:txBody>
            <a:bodyPr/>
            <a:lstStyle/>
            <a:p>
              <a:endParaRPr lang="en-ZA">
                <a:solidFill>
                  <a:schemeClr val="bg1"/>
                </a:solidFill>
              </a:endParaRPr>
            </a:p>
          </p:txBody>
        </p:sp>
        <p:sp>
          <p:nvSpPr>
            <p:cNvPr id="48" name="Shape 21337"/>
            <p:cNvSpPr/>
            <p:nvPr/>
          </p:nvSpPr>
          <p:spPr>
            <a:xfrm>
              <a:off x="1699089" y="0"/>
              <a:ext cx="188455" cy="296672"/>
            </a:xfrm>
            <a:custGeom>
              <a:avLst/>
              <a:gdLst/>
              <a:ahLst/>
              <a:cxnLst/>
              <a:rect l="0" t="0" r="0" b="0"/>
              <a:pathLst>
                <a:path w="188455" h="296672">
                  <a:moveTo>
                    <a:pt x="0" y="0"/>
                  </a:moveTo>
                  <a:lnTo>
                    <a:pt x="188455" y="0"/>
                  </a:lnTo>
                  <a:lnTo>
                    <a:pt x="188455" y="296672"/>
                  </a:lnTo>
                  <a:lnTo>
                    <a:pt x="0" y="296672"/>
                  </a:lnTo>
                  <a:lnTo>
                    <a:pt x="0" y="0"/>
                  </a:lnTo>
                </a:path>
              </a:pathLst>
            </a:custGeom>
            <a:ln w="0" cap="flat">
              <a:miter lim="127000"/>
            </a:ln>
          </p:spPr>
          <p:style>
            <a:lnRef idx="0">
              <a:srgbClr val="000000">
                <a:alpha val="0"/>
              </a:srgbClr>
            </a:lnRef>
            <a:fillRef idx="1">
              <a:srgbClr val="EBEBEB">
                <a:alpha val="47843"/>
              </a:srgbClr>
            </a:fillRef>
            <a:effectRef idx="0">
              <a:scrgbClr r="0" g="0" b="0"/>
            </a:effectRef>
            <a:fontRef idx="none"/>
          </p:style>
          <p:txBody>
            <a:bodyPr/>
            <a:lstStyle/>
            <a:p>
              <a:endParaRPr lang="en-ZA">
                <a:solidFill>
                  <a:schemeClr val="bg1"/>
                </a:solidFill>
              </a:endParaRPr>
            </a:p>
          </p:txBody>
        </p:sp>
        <p:sp>
          <p:nvSpPr>
            <p:cNvPr id="50" name="Shape 299"/>
            <p:cNvSpPr/>
            <p:nvPr/>
          </p:nvSpPr>
          <p:spPr>
            <a:xfrm>
              <a:off x="861431" y="1468882"/>
              <a:ext cx="400647" cy="332664"/>
            </a:xfrm>
            <a:custGeom>
              <a:avLst/>
              <a:gdLst/>
              <a:ahLst/>
              <a:cxnLst/>
              <a:rect l="0" t="0" r="0" b="0"/>
              <a:pathLst>
                <a:path w="400647" h="332664">
                  <a:moveTo>
                    <a:pt x="100165" y="0"/>
                  </a:moveTo>
                  <a:lnTo>
                    <a:pt x="300495" y="0"/>
                  </a:lnTo>
                  <a:lnTo>
                    <a:pt x="300495" y="124739"/>
                  </a:lnTo>
                  <a:lnTo>
                    <a:pt x="400647" y="124739"/>
                  </a:lnTo>
                  <a:lnTo>
                    <a:pt x="200330" y="332664"/>
                  </a:lnTo>
                  <a:lnTo>
                    <a:pt x="0" y="124739"/>
                  </a:lnTo>
                  <a:lnTo>
                    <a:pt x="100165" y="124739"/>
                  </a:lnTo>
                  <a:lnTo>
                    <a:pt x="100165" y="0"/>
                  </a:lnTo>
                  <a:close/>
                </a:path>
              </a:pathLst>
            </a:custGeom>
            <a:ln w="0" cap="flat">
              <a:miter lim="127000"/>
            </a:ln>
          </p:spPr>
          <p:style>
            <a:lnRef idx="0">
              <a:srgbClr val="000000">
                <a:alpha val="0"/>
              </a:srgbClr>
            </a:lnRef>
            <a:fillRef idx="1">
              <a:srgbClr val="EBEBEB">
                <a:alpha val="47843"/>
              </a:srgbClr>
            </a:fillRef>
            <a:effectRef idx="0">
              <a:scrgbClr r="0" g="0" b="0"/>
            </a:effectRef>
            <a:fontRef idx="none"/>
          </p:style>
          <p:txBody>
            <a:bodyPr/>
            <a:lstStyle/>
            <a:p>
              <a:endParaRPr lang="en-ZA">
                <a:solidFill>
                  <a:schemeClr val="bg1"/>
                </a:solidFill>
              </a:endParaRPr>
            </a:p>
          </p:txBody>
        </p:sp>
        <p:sp>
          <p:nvSpPr>
            <p:cNvPr id="56" name="Shape 21338"/>
            <p:cNvSpPr/>
            <p:nvPr/>
          </p:nvSpPr>
          <p:spPr>
            <a:xfrm>
              <a:off x="969016" y="1232471"/>
              <a:ext cx="185483" cy="203124"/>
            </a:xfrm>
            <a:custGeom>
              <a:avLst/>
              <a:gdLst/>
              <a:ahLst/>
              <a:cxnLst/>
              <a:rect l="0" t="0" r="0" b="0"/>
              <a:pathLst>
                <a:path w="185483" h="203124">
                  <a:moveTo>
                    <a:pt x="0" y="0"/>
                  </a:moveTo>
                  <a:lnTo>
                    <a:pt x="185483" y="0"/>
                  </a:lnTo>
                  <a:lnTo>
                    <a:pt x="185483" y="203124"/>
                  </a:lnTo>
                  <a:lnTo>
                    <a:pt x="0" y="203124"/>
                  </a:lnTo>
                  <a:lnTo>
                    <a:pt x="0" y="0"/>
                  </a:lnTo>
                </a:path>
              </a:pathLst>
            </a:custGeom>
            <a:ln w="0" cap="flat">
              <a:miter lim="127000"/>
            </a:ln>
          </p:spPr>
          <p:style>
            <a:lnRef idx="0">
              <a:srgbClr val="000000">
                <a:alpha val="0"/>
              </a:srgbClr>
            </a:lnRef>
            <a:fillRef idx="1">
              <a:srgbClr val="EBEBEB">
                <a:alpha val="47843"/>
              </a:srgbClr>
            </a:fillRef>
            <a:effectRef idx="0">
              <a:scrgbClr r="0" g="0" b="0"/>
            </a:effectRef>
            <a:fontRef idx="none"/>
          </p:style>
          <p:txBody>
            <a:bodyPr/>
            <a:lstStyle/>
            <a:p>
              <a:endParaRPr lang="en-ZA">
                <a:solidFill>
                  <a:schemeClr val="bg1"/>
                </a:solidFill>
              </a:endParaRPr>
            </a:p>
          </p:txBody>
        </p:sp>
        <p:sp>
          <p:nvSpPr>
            <p:cNvPr id="58" name="Shape 301"/>
            <p:cNvSpPr/>
            <p:nvPr/>
          </p:nvSpPr>
          <p:spPr>
            <a:xfrm>
              <a:off x="1310304" y="1467551"/>
              <a:ext cx="399174" cy="332664"/>
            </a:xfrm>
            <a:custGeom>
              <a:avLst/>
              <a:gdLst/>
              <a:ahLst/>
              <a:cxnLst/>
              <a:rect l="0" t="0" r="0" b="0"/>
              <a:pathLst>
                <a:path w="399174" h="332664">
                  <a:moveTo>
                    <a:pt x="99797" y="0"/>
                  </a:moveTo>
                  <a:lnTo>
                    <a:pt x="299377" y="0"/>
                  </a:lnTo>
                  <a:lnTo>
                    <a:pt x="299377" y="124739"/>
                  </a:lnTo>
                  <a:lnTo>
                    <a:pt x="399174" y="124739"/>
                  </a:lnTo>
                  <a:lnTo>
                    <a:pt x="199593" y="332664"/>
                  </a:lnTo>
                  <a:lnTo>
                    <a:pt x="0" y="124739"/>
                  </a:lnTo>
                  <a:lnTo>
                    <a:pt x="99797" y="124739"/>
                  </a:lnTo>
                  <a:lnTo>
                    <a:pt x="99797" y="0"/>
                  </a:lnTo>
                  <a:close/>
                </a:path>
              </a:pathLst>
            </a:custGeom>
            <a:ln w="0" cap="flat">
              <a:miter lim="127000"/>
            </a:ln>
          </p:spPr>
          <p:style>
            <a:lnRef idx="0">
              <a:srgbClr val="000000">
                <a:alpha val="0"/>
              </a:srgbClr>
            </a:lnRef>
            <a:fillRef idx="1">
              <a:srgbClr val="EBEBEB">
                <a:alpha val="47843"/>
              </a:srgbClr>
            </a:fillRef>
            <a:effectRef idx="0">
              <a:scrgbClr r="0" g="0" b="0"/>
            </a:effectRef>
            <a:fontRef idx="none"/>
          </p:style>
          <p:txBody>
            <a:bodyPr/>
            <a:lstStyle/>
            <a:p>
              <a:endParaRPr lang="en-ZA">
                <a:solidFill>
                  <a:schemeClr val="bg1"/>
                </a:solidFill>
              </a:endParaRPr>
            </a:p>
          </p:txBody>
        </p:sp>
        <p:sp>
          <p:nvSpPr>
            <p:cNvPr id="63" name="Shape 21339"/>
            <p:cNvSpPr/>
            <p:nvPr/>
          </p:nvSpPr>
          <p:spPr>
            <a:xfrm>
              <a:off x="1415663" y="1232471"/>
              <a:ext cx="186969" cy="203124"/>
            </a:xfrm>
            <a:custGeom>
              <a:avLst/>
              <a:gdLst/>
              <a:ahLst/>
              <a:cxnLst/>
              <a:rect l="0" t="0" r="0" b="0"/>
              <a:pathLst>
                <a:path w="186969" h="203124">
                  <a:moveTo>
                    <a:pt x="0" y="0"/>
                  </a:moveTo>
                  <a:lnTo>
                    <a:pt x="186969" y="0"/>
                  </a:lnTo>
                  <a:lnTo>
                    <a:pt x="186969" y="203124"/>
                  </a:lnTo>
                  <a:lnTo>
                    <a:pt x="0" y="203124"/>
                  </a:lnTo>
                  <a:lnTo>
                    <a:pt x="0" y="0"/>
                  </a:lnTo>
                </a:path>
              </a:pathLst>
            </a:custGeom>
            <a:ln w="0" cap="flat">
              <a:miter lim="127000"/>
            </a:ln>
          </p:spPr>
          <p:style>
            <a:lnRef idx="0">
              <a:srgbClr val="000000">
                <a:alpha val="0"/>
              </a:srgbClr>
            </a:lnRef>
            <a:fillRef idx="1">
              <a:srgbClr val="EBEBEB">
                <a:alpha val="47843"/>
              </a:srgbClr>
            </a:fillRef>
            <a:effectRef idx="0">
              <a:scrgbClr r="0" g="0" b="0"/>
            </a:effectRef>
            <a:fontRef idx="none"/>
          </p:style>
          <p:txBody>
            <a:bodyPr/>
            <a:lstStyle/>
            <a:p>
              <a:endParaRPr lang="en-ZA">
                <a:solidFill>
                  <a:schemeClr val="bg1"/>
                </a:solidFill>
              </a:endParaRPr>
            </a:p>
          </p:txBody>
        </p:sp>
        <p:sp>
          <p:nvSpPr>
            <p:cNvPr id="64" name="Shape 303"/>
            <p:cNvSpPr/>
            <p:nvPr/>
          </p:nvSpPr>
          <p:spPr>
            <a:xfrm>
              <a:off x="1086990" y="2725010"/>
              <a:ext cx="397675" cy="332664"/>
            </a:xfrm>
            <a:custGeom>
              <a:avLst/>
              <a:gdLst/>
              <a:ahLst/>
              <a:cxnLst/>
              <a:rect l="0" t="0" r="0" b="0"/>
              <a:pathLst>
                <a:path w="397675" h="332664">
                  <a:moveTo>
                    <a:pt x="99416" y="0"/>
                  </a:moveTo>
                  <a:lnTo>
                    <a:pt x="298260" y="0"/>
                  </a:lnTo>
                  <a:lnTo>
                    <a:pt x="298260" y="124739"/>
                  </a:lnTo>
                  <a:lnTo>
                    <a:pt x="397675" y="124739"/>
                  </a:lnTo>
                  <a:lnTo>
                    <a:pt x="198831" y="332664"/>
                  </a:lnTo>
                  <a:lnTo>
                    <a:pt x="0" y="124739"/>
                  </a:lnTo>
                  <a:lnTo>
                    <a:pt x="99416" y="124739"/>
                  </a:lnTo>
                  <a:lnTo>
                    <a:pt x="99416" y="0"/>
                  </a:lnTo>
                  <a:close/>
                </a:path>
              </a:pathLst>
            </a:custGeom>
            <a:ln w="0" cap="flat">
              <a:miter lim="127000"/>
            </a:ln>
          </p:spPr>
          <p:style>
            <a:lnRef idx="0">
              <a:srgbClr val="000000">
                <a:alpha val="0"/>
              </a:srgbClr>
            </a:lnRef>
            <a:fillRef idx="1">
              <a:srgbClr val="EBEBEB">
                <a:alpha val="47843"/>
              </a:srgbClr>
            </a:fillRef>
            <a:effectRef idx="0">
              <a:scrgbClr r="0" g="0" b="0"/>
            </a:effectRef>
            <a:fontRef idx="none"/>
          </p:style>
          <p:txBody>
            <a:bodyPr/>
            <a:lstStyle/>
            <a:p>
              <a:endParaRPr lang="en-ZA">
                <a:solidFill>
                  <a:schemeClr val="bg1"/>
                </a:solidFill>
              </a:endParaRPr>
            </a:p>
          </p:txBody>
        </p:sp>
        <p:sp>
          <p:nvSpPr>
            <p:cNvPr id="65" name="Shape 21340"/>
            <p:cNvSpPr/>
            <p:nvPr/>
          </p:nvSpPr>
          <p:spPr>
            <a:xfrm>
              <a:off x="1193083" y="2434374"/>
              <a:ext cx="186969" cy="182004"/>
            </a:xfrm>
            <a:custGeom>
              <a:avLst/>
              <a:gdLst/>
              <a:ahLst/>
              <a:cxnLst/>
              <a:rect l="0" t="0" r="0" b="0"/>
              <a:pathLst>
                <a:path w="186969" h="182004">
                  <a:moveTo>
                    <a:pt x="0" y="0"/>
                  </a:moveTo>
                  <a:lnTo>
                    <a:pt x="186969" y="0"/>
                  </a:lnTo>
                  <a:lnTo>
                    <a:pt x="186969" y="182004"/>
                  </a:lnTo>
                  <a:lnTo>
                    <a:pt x="0" y="182004"/>
                  </a:lnTo>
                  <a:lnTo>
                    <a:pt x="0" y="0"/>
                  </a:lnTo>
                </a:path>
              </a:pathLst>
            </a:custGeom>
            <a:ln w="0" cap="flat">
              <a:miter lim="127000"/>
            </a:ln>
          </p:spPr>
          <p:style>
            <a:lnRef idx="0">
              <a:srgbClr val="000000">
                <a:alpha val="0"/>
              </a:srgbClr>
            </a:lnRef>
            <a:fillRef idx="1">
              <a:srgbClr val="EBEBEB">
                <a:alpha val="47843"/>
              </a:srgbClr>
            </a:fillRef>
            <a:effectRef idx="0">
              <a:scrgbClr r="0" g="0" b="0"/>
            </a:effectRef>
            <a:fontRef idx="none"/>
          </p:style>
          <p:txBody>
            <a:bodyPr/>
            <a:lstStyle/>
            <a:p>
              <a:endParaRPr lang="en-ZA">
                <a:solidFill>
                  <a:schemeClr val="bg1"/>
                </a:solidFill>
              </a:endParaRPr>
            </a:p>
          </p:txBody>
        </p:sp>
        <p:sp>
          <p:nvSpPr>
            <p:cNvPr id="66" name="Shape 327"/>
            <p:cNvSpPr/>
            <p:nvPr/>
          </p:nvSpPr>
          <p:spPr>
            <a:xfrm>
              <a:off x="414763" y="2825750"/>
              <a:ext cx="9937480" cy="965200"/>
            </a:xfrm>
            <a:custGeom>
              <a:avLst/>
              <a:gdLst/>
              <a:ahLst/>
              <a:cxnLst/>
              <a:rect l="0" t="0" r="0" b="0"/>
              <a:pathLst>
                <a:path w="7225970" h="965200">
                  <a:moveTo>
                    <a:pt x="0" y="965200"/>
                  </a:moveTo>
                  <a:lnTo>
                    <a:pt x="7225970" y="965200"/>
                  </a:lnTo>
                  <a:lnTo>
                    <a:pt x="7225970" y="0"/>
                  </a:lnTo>
                  <a:lnTo>
                    <a:pt x="0" y="0"/>
                  </a:lnTo>
                  <a:close/>
                </a:path>
              </a:pathLst>
            </a:custGeom>
            <a:ln w="19050" cap="flat">
              <a:solidFill>
                <a:srgbClr val="C00000"/>
              </a:solidFill>
              <a:miter lim="101600"/>
            </a:ln>
          </p:spPr>
          <p:style>
            <a:lnRef idx="1">
              <a:srgbClr val="C00000"/>
            </a:lnRef>
            <a:fillRef idx="0">
              <a:srgbClr val="000000">
                <a:alpha val="0"/>
              </a:srgbClr>
            </a:fillRef>
            <a:effectRef idx="0">
              <a:scrgbClr r="0" g="0" b="0"/>
            </a:effectRef>
            <a:fontRef idx="none"/>
          </p:style>
          <p:txBody>
            <a:bodyPr/>
            <a:lstStyle/>
            <a:p>
              <a:endParaRPr lang="en-ZA">
                <a:solidFill>
                  <a:schemeClr val="bg1"/>
                </a:solidFill>
              </a:endParaRPr>
            </a:p>
          </p:txBody>
        </p:sp>
      </p:grpSp>
      <p:sp>
        <p:nvSpPr>
          <p:cNvPr id="11" name="Rectangle 10"/>
          <p:cNvSpPr/>
          <p:nvPr/>
        </p:nvSpPr>
        <p:spPr>
          <a:xfrm>
            <a:off x="1234904" y="3025570"/>
            <a:ext cx="2198466" cy="738664"/>
          </a:xfrm>
          <a:prstGeom prst="rect">
            <a:avLst/>
          </a:prstGeom>
        </p:spPr>
        <p:txBody>
          <a:bodyPr wrap="square">
            <a:spAutoFit/>
          </a:bodyPr>
          <a:lstStyle/>
          <a:p>
            <a:pPr lvl="0" algn="l" eaLnBrk="0" hangingPunct="0">
              <a:spcBef>
                <a:spcPct val="0"/>
              </a:spcBef>
            </a:pPr>
            <a:r>
              <a:rPr lang="en-ZA" altLang="en-US" sz="1400" dirty="0">
                <a:solidFill>
                  <a:srgbClr val="FFFFFF"/>
                </a:solidFill>
                <a:latin typeface="Verdana" panose="020B0604030504040204" pitchFamily="34" charset="0"/>
                <a:ea typeface="Verdana" panose="020B0604030504040204" pitchFamily="34" charset="0"/>
                <a:cs typeface="Verdana" panose="020B0604030504040204" pitchFamily="34" charset="0"/>
              </a:rPr>
              <a:t>1</a:t>
            </a:r>
            <a:r>
              <a:rPr lang="en-ZA" altLang="en-US" sz="1400" baseline="30000" dirty="0">
                <a:solidFill>
                  <a:srgbClr val="FFFFFF"/>
                </a:solidFill>
                <a:latin typeface="Verdana" panose="020B0604030504040204" pitchFamily="34" charset="0"/>
                <a:ea typeface="Verdana" panose="020B0604030504040204" pitchFamily="34" charset="0"/>
                <a:cs typeface="Verdana" panose="020B0604030504040204" pitchFamily="34" charset="0"/>
              </a:rPr>
              <a:t>st</a:t>
            </a:r>
            <a:r>
              <a:rPr lang="en-ZA" altLang="en-US" sz="1400" dirty="0">
                <a:solidFill>
                  <a:srgbClr val="FFFFFF"/>
                </a:solidFill>
                <a:latin typeface="Verdana" panose="020B0604030504040204" pitchFamily="34" charset="0"/>
                <a:ea typeface="Verdana" panose="020B0604030504040204" pitchFamily="34" charset="0"/>
                <a:cs typeface="Verdana" panose="020B0604030504040204" pitchFamily="34" charset="0"/>
              </a:rPr>
              <a:t> Line of </a:t>
            </a:r>
            <a:r>
              <a:rPr lang="en-ZA" altLang="en-US" sz="140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defence </a:t>
            </a:r>
            <a:r>
              <a:rPr lang="en-ZA" altLang="en-US" sz="1400" b="0" dirty="0">
                <a:solidFill>
                  <a:srgbClr val="FFFFFF"/>
                </a:solidFill>
                <a:latin typeface="Verdana" panose="020B0604030504040204" pitchFamily="34" charset="0"/>
                <a:ea typeface="Verdana" panose="020B0604030504040204" pitchFamily="34" charset="0"/>
                <a:cs typeface="Verdana" panose="020B0604030504040204" pitchFamily="34" charset="0"/>
              </a:rPr>
              <a:t>business and IT  functions </a:t>
            </a:r>
            <a:endParaRPr lang="en-ZA" altLang="en-US" sz="1100" b="0" dirty="0">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p:cNvSpPr/>
          <p:nvPr/>
        </p:nvSpPr>
        <p:spPr>
          <a:xfrm>
            <a:off x="1116543" y="4480275"/>
            <a:ext cx="2107162" cy="1169551"/>
          </a:xfrm>
          <a:prstGeom prst="rect">
            <a:avLst/>
          </a:prstGeom>
        </p:spPr>
        <p:txBody>
          <a:bodyPr wrap="square">
            <a:spAutoFit/>
          </a:bodyPr>
          <a:lstStyle/>
          <a:p>
            <a:r>
              <a:rPr lang="en-ZA" altLang="en-US" sz="1400" dirty="0">
                <a:solidFill>
                  <a:srgbClr val="FFFFFF"/>
                </a:solidFill>
                <a:latin typeface="Verdana" panose="020B0604030504040204" pitchFamily="34" charset="0"/>
                <a:ea typeface="Verdana" panose="020B0604030504040204" pitchFamily="34" charset="0"/>
                <a:cs typeface="Verdana" panose="020B0604030504040204" pitchFamily="34" charset="0"/>
              </a:rPr>
              <a:t>2</a:t>
            </a:r>
            <a:r>
              <a:rPr lang="en-ZA" altLang="en-US" sz="1400" baseline="30000" dirty="0">
                <a:solidFill>
                  <a:srgbClr val="FFFFFF"/>
                </a:solidFill>
                <a:latin typeface="Verdana" panose="020B0604030504040204" pitchFamily="34" charset="0"/>
                <a:ea typeface="Verdana" panose="020B0604030504040204" pitchFamily="34" charset="0"/>
                <a:cs typeface="Verdana" panose="020B0604030504040204" pitchFamily="34" charset="0"/>
              </a:rPr>
              <a:t>nd</a:t>
            </a:r>
            <a:r>
              <a:rPr lang="en-ZA" altLang="en-US" sz="1400" dirty="0">
                <a:solidFill>
                  <a:srgbClr val="FFFFFF"/>
                </a:solidFill>
                <a:latin typeface="Verdana" panose="020B0604030504040204" pitchFamily="34" charset="0"/>
                <a:ea typeface="Verdana" panose="020B0604030504040204" pitchFamily="34" charset="0"/>
                <a:cs typeface="Verdana" panose="020B0604030504040204" pitchFamily="34" charset="0"/>
              </a:rPr>
              <a:t> Line of </a:t>
            </a:r>
            <a:r>
              <a:rPr lang="en-ZA" altLang="en-US" sz="140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defence </a:t>
            </a:r>
            <a:r>
              <a:rPr lang="en-ZA" altLang="en-US" sz="1400" b="0" dirty="0">
                <a:solidFill>
                  <a:srgbClr val="FFFFFF"/>
                </a:solidFill>
                <a:latin typeface="Verdana" panose="020B0604030504040204" pitchFamily="34" charset="0"/>
                <a:ea typeface="Verdana" panose="020B0604030504040204" pitchFamily="34" charset="0"/>
                <a:cs typeface="Verdana" panose="020B0604030504040204" pitchFamily="34" charset="0"/>
              </a:rPr>
              <a:t>information and technology risk management function </a:t>
            </a:r>
            <a:endParaRPr lang="en-ZA" sz="1400" dirty="0">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p:cNvSpPr/>
          <p:nvPr/>
        </p:nvSpPr>
        <p:spPr>
          <a:xfrm>
            <a:off x="1470222" y="6159265"/>
            <a:ext cx="1265471" cy="997196"/>
          </a:xfrm>
          <a:prstGeom prst="rect">
            <a:avLst/>
          </a:prstGeom>
        </p:spPr>
        <p:txBody>
          <a:bodyPr wrap="square">
            <a:spAutoFit/>
          </a:bodyPr>
          <a:lstStyle/>
          <a:p>
            <a:pPr lvl="0" eaLnBrk="0" hangingPunct="0">
              <a:tabLst>
                <a:tab pos="1890713" algn="ctr"/>
                <a:tab pos="6256338" algn="ctr"/>
              </a:tabLst>
            </a:pPr>
            <a:r>
              <a:rPr lang="en-ZA" altLang="en-US" sz="1400" dirty="0">
                <a:solidFill>
                  <a:srgbClr val="FFFFFF"/>
                </a:solidFill>
                <a:latin typeface="Verdana" panose="020B0604030504040204" pitchFamily="34" charset="0"/>
                <a:ea typeface="Verdana" panose="020B0604030504040204" pitchFamily="34" charset="0"/>
                <a:cs typeface="Verdana" panose="020B0604030504040204" pitchFamily="34" charset="0"/>
              </a:rPr>
              <a:t>3rd Line </a:t>
            </a:r>
            <a:r>
              <a:rPr lang="en-ZA" altLang="en-US" sz="140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of defence</a:t>
            </a:r>
          </a:p>
          <a:p>
            <a:pPr lvl="0" eaLnBrk="0" hangingPunct="0">
              <a:tabLst>
                <a:tab pos="1890713" algn="ctr"/>
                <a:tab pos="6256338" algn="ctr"/>
              </a:tabLst>
            </a:pPr>
            <a:r>
              <a:rPr lang="en-ZA" altLang="en-US" sz="1400" b="0" dirty="0">
                <a:solidFill>
                  <a:schemeClr val="bg1"/>
                </a:solidFill>
                <a:latin typeface="Verdana" panose="020B0604030504040204" pitchFamily="34" charset="0"/>
                <a:ea typeface="Verdana" panose="020B0604030504040204" pitchFamily="34" charset="0"/>
                <a:cs typeface="Verdana" panose="020B0604030504040204" pitchFamily="34" charset="0"/>
              </a:rPr>
              <a:t>Internal Audit   </a:t>
            </a:r>
            <a:endParaRPr lang="en-ZA" sz="1400" b="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830375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580072" y="883394"/>
            <a:ext cx="11662259" cy="707886"/>
          </a:xfrm>
        </p:spPr>
        <p:txBody>
          <a:bodyPr/>
          <a:lstStyle/>
          <a:p>
            <a:r>
              <a:rPr lang="en-US" i="1" dirty="0" smtClean="0"/>
              <a:t>Today’s Audit programs are facing myriad of challenges in being able identify, monitor and report the Cyber Security risks facing the Banks in Nigeria</a:t>
            </a:r>
            <a:endParaRPr lang="en-ZA" i="1" dirty="0"/>
          </a:p>
        </p:txBody>
      </p:sp>
      <p:sp>
        <p:nvSpPr>
          <p:cNvPr id="5" name="AutoShape 6" descr="data:image/jpeg;base64,/9j/4AAQSkZJRgABAQAAAQABAAD/2wCEAAkGBwgHBhUIBwgVFhUWFyAZGRgYFyUfIBwiICEmIhwgKR8kHDQsHCMlHCEnITErJSksOjEuHR8zOj8xNzEwLiwBCgoKDg0OGxAQGjcmICUsLDQ3Njc4LCw3LDcsNDA1LDIuLi8wNC0vNzAvLC0sNjY3NywyLC80NCwuLy43NywsLP/AABEIALcBEwMBEQACEQEDEQH/xAAbAAEAAQUBAAAAAAAAAAAAAAAABgECBAUHA//EADUQAAIBAwIEBAUBBwUAAAAAAAABAgMEEQUhBhIxQSJRYXETMoGRoUIHFBVSgqKxI2JywfH/xAAbAQEAAgMBAQAAAAAAAAAAAAAABQYCAwQBB//EADYRAAIBAwIEBQMCBQMFAAAAAAABAgMEESExBRJBUQZhcYGhEyKRwfAUIzKx0UKS4SVicoLx/9oADAMBAAIRAxEAPwDm5cCEAAAAAAAAAAAAAAAAAAAAAAAAAAAAAAAAAAAAAAAAAAAAAAAAAAAAAAAAAAAAAAAAAAAAAAAAAAAAAAAAAAAAAAAAAAAAAAAAAAAAAAAAAAAAAAAAAAAAAAAAAAAAAAAAAMrUbCvp1wqF1HDcIz+kkn+Onumc1pd07qDnTeicl/tbX6Z9DbVoypS5Zdk/yYp0moAAAAAAAAAAAAAAAAAAAAAAAAAAAAAAAAAAAAAAAAAAAGTcWNa3s6V3UXhq83L/AEvD/JzUrqnUrVKMX90MZ/8AZZRtlSlGEZvZ5+DGOk1AAmnC/D/D2t4cL2qqkcOVKTjvjrh8vij7fgpnG+NcU4dnNKLg9prOnbKzo/h9GyZs7S2r4xJ57Ep4x4f0nUMajql46ShHlcljdZylut3lvCXmVTw7xq+ts2ttT+o5PONdO/ttnJJX1pRqfzKksYOVX6s1dNac5uC6OeMv1wlt7H1a2+u6adxjm/7c4X53+CsVfp838vbzMc6DWeltRnc3EaFJbzkor3bwvya61WNKnKpLaKbfotWZQg5yUV1K3VCdrdTt6vzQk4v3TwzyjVjWpxqQ2kk16PUTg4ScX0PI2mIAAAAAAAAAAAAAAAAAAAAAAAAAAAAAAAAAAABJOGNH0TWWre4v6lOt2i8Yl/xeOvo/yVzjXEuIWCdWnRU6ffXK9V28/wA4JGzt7ev9spNS/v6E/wBW4Wsb3Q6Wn1a7hGgtp7Zwlh5ztv1fsfPuH+IrmhfVbiMOZ1f9OvfTGNdNkTtexpzoxpt4Uepy7W6OlW1z8HSbmdRLrOSST9tt16/+n1Ph1W8q0+e6goN7JZbXr09vz2K1cxowly0m35/4NaSJzEi4Q1Wz0KdXUbmPNPl5KcF3b3k2/wBKWEs+rK9x/h1fiMadrTfLDOZS7Y2SXVvLftq9iQsK8LfmqS1eyRsq/F8Ne0atpusUowlJc1OcflynmMX5dMZ9d8dSMo+GXw28pXVnJuK0knvh6NrbPfHlpnY6ZcRVxSlTqrD6MhZdCGL6Xw/ir4yfLnfHXHpkxnzcr5N/PY9jjP3bHRuD+G9ErXENW07UJ1OR55JJJp4eMrth7r2PnHiHjvEadOdncUVHmWOZNtNZ1w/Pbus6pFhsbO3clVpyzjoV4w4b0WncT1bUdQnT538kUm28JbLq2+v1PPDvHeITpws7eip8vVtrCz1flt3fTIvrKgpOrUljJzit8P4r+Any525uuPXB9Hhzcq59+uNvYr8uXP27FhmYgAAAAAAAAAAAAAAAAAAAAAAAAAAAAAAAAAA2vC9aztdZjeajPEKWZ4xlya+VJefM0/oyK41SuK1nKjbr7p/b2ST/AKm/LGUdVnKEKqnU2Wv+CV0eP6N9cVLTVrNRoVE4px3lFNYef5vpjHqVSp4NnbQhWtKmasGnropNa6dvfOeuCUjxaNSThUWIv96kBqw+HVdPnTw2sro8d16F+hLmipYxn4IKSw2i0yPAAAAAACV8N8QW3DeiTnRgp3FWWy7RjHaPM/fLwu2OhVOMcFq8WvIRm+WjBe8m98eySy+uyepKWl3C1otrWT+PUrxFxDbcSaHF3EFC4pSzjtOL2lyvtvh4fl3POEcEq8JvZKm+ajUXvFrVZ9srK90j26vIXVFZ0kvn0ImWwigAAAAAAAAAAAAAAAAAAAAAAAAAAAAAAAADZ22j1a+gVdWj0pzjH3z832bj92RlbiUKd/Ts3vOMn+NvylL8HTC2cqEqvZr/AJ/Q1hJnMAAAAAAAAAAAAAAAADZ8P6PV1q8lb0esacp/VLwr6yaX3IzivEoWFKNSfWUY/l6v2jlnTa2zrycV0Tf+Pk1hJnMAAAAAAAAAAAAAAAAAAAAAAAAAAAADaaFeaZbXHLrGnKrTfVqUlKPtiSTXo/uRfE7a8rU82dbkmvJNP1ym16r8HTbVKUZYqxyvfJ1+z0nTI6R+421tijNZcd9+b3eU/wDB8eueJXrvPr1J/wA2DxnTTHpp+jLXTt6SpckV9r9evycs4puNFjcSs9F0xQ5XiVSTlltPdKLlsvff2PqvBKHEXTVa9r82VlRSjhZ7tLV+mnqVq9nQUnClDGOupHywHAAAAAAAAAAAAAADIsLijbXKqXNpGrHvCTaz9U8p/f2Oe6o1KtNxp1HCXRpJ49msNfj1RspTjGWZRyjrvCFvorsf4jolm6aqbPLefC+m7ffyPkHiGvxFV/4W9qc3LqsYxr10S6d9i1WMKHJ9SlHGfUifGy4f0iu7W00hOtLxOUpT5Y5745vE/RbL8Fu8NPit9TVetcYpLRJKOXju8aL5fluRfEFbUXyxh93vj+5Bi8kKAAAAAAAAAAAAAAAAAAAAAAAAAAAe1nKjG6jK6i3BSTkl1aT3X1Wxqrqo6UlTeJYePJ9H7GdNxU05bEiueOtZq6mrujUUIrZUuscev8z9dvTBXKPhHh8LZ0Jrmk95f6s+Xb01z1yd8+K13U51ou3T3NNrl5R1HVJ3tClyfE8Tj5Sa8W/dOWX26k1w21na20aE5c3Lon3S/p06YWF7HJc1I1KjnFYz+2YB3GgAAAAAAAAAAAAAAAkdfiy8o6fS07SJulTpJeJfNOXWTfknLLx989Cu0/DtvUuKl1drnnNvR7RWyS7tLCz+MEhLiE4wjTpaJfJi8Q65/Ho069xRUa0E4Sa6SXWL9Gnnb1+h08J4SuGupTpyzTk8pPeL2a81tjr37mu6uv4hRlJfctPU0xMnGAAAAAAAAAAAAAAAAAAAAAAAAAAAAAAAAAAAAAAAAAAAAAAAAAAAAAAAAAAAAAAAAAAAAAAAAAAAAAAMpdWAb+10F1uDqusY3jUWP+C2l/dL+wga3F1T4vTsejg8/wDk9V8Rf+474WmbWVXrn4/b+CP5XmT2DgKgAAAAAAAAAAAAAAAAAAG94N0WOu6pKhUfhjTk2/Jtcsf7nn+kgvEPFXw21VVbuUV7ZzL4TXud1ha/XqOL2w/+DR1IypVHTqrEk8NeTXVfcnIyU4qUdU9TjlFxeGUPTEAAAAAAAAAAAAAAAAAAAAAAAA2/D2v3eiV80YKcG/FTktn7eT9V+SJ4rwijxCniTcZLaS0a9e68vw0ddrdzoS0WV2O1QUORQcEsr5f8/k+JTcudzUm8PfX2/sW9YxjByDi7X7vUr2dnKkqdOE3Hkj3cXjLfff6f5PsXAeEULWjGspOcpJPmfZr/AErp/d/BVb67nUm4Ywk9v8kdLCR4AAAAAAAAAAAAAAAAMiwvbjT7pXNpUxJfVP0afVGi5tqVzTdKqsp+34e6NlKrKnLmjudj4V1J6rosb+tbRpuTaeOjw8ZXll9j4zx6x/g72VvCbmks67rKzh+i1zoW2yrfVpKo1jJGv2h69dafcLTrOhGHPDmdTHieW00tvD03fX2LP4R4TRuaX8VVm5crxy64WMb999Ft69I7il1Ok/pxWMrc5yfRivgAAAAAAAAAAAAAAAAAAAAAAAHvZXH7peQuVTUnCSkk+ja3WfTJpuKP1qUqWccyayt9d8eZnTnyTUsbGRW1rUq2p/xKd5L4q6STxj0S6JenQ5qfC7Snbfwsaa+n27+b6589zbK6qyqfUctTy1S+nqV9K8rQSlLHNjo3jDeO2cZ98m2ytI2lGNGDbjHbPRZ0Xtt6GFaq6s3NrVmKdRqAAAAAAAAAAAAAAAAAANhqGsXd9a07OU+WlTilGC6bfqfnJvfL89sEfa8NoW9WddLM5ttye+vRdktsfnJ0VbmdSKhsl0Goaxd6laU6F9PndPKjN/Nh42b/AFdNm9+vU9tOG0LSrOpQXKp4yumV1S6Zzr0226qtzOrBRnrjqa87znAAAAAAAAAAAAAAAAAAAAAAAAAAAAAAAAAAAAAAAAAAAAAAAAAAAAAAAAAAAAAAAAAAAAAAAAAAAAAAMuz02/voOdlZ1KiWz5It4+3Q5bi+trZpVqijnu0s/k2woVKizCLZKrDhS5nwbXqVrSSrOalCLi+bEPTrlqUvfYql14joR4xRhConS5Wm8rGZee2nLH01JSlYSdpNuP3Z/t+2Re60jUrSj8a7sKkIrvKDS+7RaKHErOvPkpVYyfZNN/BGTt6sFmUWkYR2mkAAAAAAAAAAAAAHtaWlze1fhWlCU5YziKy/sjTXuKVCHPVkoru3hfkzhTlN4issl3BXC1zXv6j1WynCCpSiueLWXNcu2VviOfwVHxH4ho0qEP4WopS54t4aekXnXHdpfJK8PsZSnL6kWlh/JHqvD2s0W1PTKuI5y+R4275x09Sw0+NcPqY5a8cvGnMs69MZ3OCVnXTf2P8ADNYSZzAAAAAAAAAAAAAAAAAAAAAAAAAAAGXpd7e2F9GtptVxqZwsd89mu6b7M5L21t7mi6dxFOPn080+mO5uoValOadN6na/4pZ0LuGn3d3BVpRzy5xl9/bL6JvL9T4k+HXFSlO5o026Sb18v1x1a0XXBcPrwjJU5SXMzkvGN7qFzrtSjqVXPw5uMYraKXbC9Vh56n13w/a2lGxpzto454pt7tvrl+Tyuy6Iq1/VqyrONR7M0ZNnEAAAAAAAAAAAAAC6nUnSqKpSm008pp4afmn2MZwjOLjJZT6PXJ7GTi8o6/oWufA4bo3nEN5GMqnRvZtZxF4Xpu30Se58e4rwj6vEqtDh1NtR3S1SeNcZ89Et29i2W9zy0Izryw2Rf9p19f8A77C0Vf8A0JQU4qPSTzvl/qxs123XuWrwVZ230JVuX+bGTTzuvRdOz67+hG8Xq1OZRz9rRBi8kIAAAAAAAAAAAAAAAAAAAAAAAAAAAelvWqW1eNejLEovKeOjXR/RmurSjVg6c1lNYfmnuZQm4SUlui2pUnVqOpVm228tt5bfnnuZQhGEVGKwl07Hjk5PLPS6uq95V+Lc1HKWEuZ9XhYWX3eNsvyNdGhToR5Kawst46a6vHbXUynUlN5k9TxNxgXzpVIU41JQaUs4fnjZ/kwU4uTinqt/LJk4tJN9SwzMQAAAAAAAVhGU5qEFlt4SPJNRWXsepNvCK1ISp1HTnHDTw15NdRGSklJbMNNPDLT08Pa6uq93UU7io3hKK8klskl2S8kaaNCnRi401jLbfm3u33bM51JTeZMVLqvUto21So3GDbin+nPXHknjoI0KcakqsViUsZffG2fTIdSTiot6I8TcYAAAAAAAAAAAAAAAAAAAAAAAAAAAAAAAA3uicLXet0HUsLug2vmi5NSj7rk/K2ILiXiChw6fLXpzw9mkmn6Pm+Hhndb2E68cwkvn/BMtZ4LrXXD1tZWcoKpR+ZttJ8yzPfG/jxjbpkpnDvFVOjxC4r1k+SpjGMNrl0jpnH9O+u5L1+GudCEI7x/Xf5IDrWk1NHuf3a4uqUp9405N8vvmKSfp1L/w7iMb6n9WnCUY9HJJZ9NW/fbsQVxbuhLlck35GuJE5wAXVKc6cuWpFp4T38msp/VPJjGcZLMXndfh4f4aweuLW5aZHhdTip1FGVRRT7vOF9k39kYzk4xbSz5LGv5aXyj2Ky8N4Jzw1wReU9To39e4ozpKSnmE2843jjw4fix38yi8Z8WUHbVbaEJxqNOP3JLGdHnVvbJN2nC5qpGo2mt9CvE3BF5V1StqFvXowpSfPmc3HGd5Z8OF4s9zzgviy3jbUrapCcqiXL9qTzjbGudsC74ZOVSVSLSW+vyQarBU6jhGopYfVZw/bKT+6L1Tk5RUmsZ6PGV64bXyyEksPCeSwzPAAAAAAAAAAAAAAAAAAAAAAAAAAAAAAAAAAAbvgyDfEVOq6/JGGZzlzYxGO7y/JvEX7kJ4hl/0+pBQ5pS+2KxnLe2F3Wr8sHbw9fz084S1ft+8E/hxfpOsVKmmULmVNyi406r8Kbawmn1i89M4/wCj5+/DF7Yxp3c4Kai05RWuEn1Wz03xnHpqTi4jRrOVOLxnZ7HJ6sJ06jhVWJJtNPz7/k+swlGUVKOz2/Qq8k02nuWmR4SbTOCdQ1OjG4trmjKnJrMozeV57cuzXkytXvim0s5ypVYyU10a37a52fdElR4ZUqpSi00SXjHg261O/hcaVyJKmoSUnj5do9v5dvois+HvFNC1oSp3beeZtYWf6tX175fuSN9w2VWalTxtj8HPL+0djdO3lXhNrq4PKz5Zxv8AQ+h2twrimqii4p91h/jp7kBVp/Tly5T9DHOg1k74J1S24f0GpfahXlipPFOknly5Vu0u2W8N/wC1FE8S8OrcUvqdvbwX2rMpds7Jvd4Syl5k5w+vG3oOdR7vRehXjTVbbiHh6F7p9eX+nPFSk3hrm6NrviSwn/uZ54b4bW4XfzoXEV90ftl3xuk91lPLXl7i/rxuaCnTez1XqQMvhBgAAAAAAAAAAAAAAAAAAAAAAAAAAAAAAAAAAAFctLCYwMlACrbby2EsaIFACXfs7rwsLutqF3dclGEMS32lKT8Kx+p4Tx3Kj4uoyuaNO2ow5qkpaeSX9Tz0WWs9CW4VJU5SqSeIpfv9Tf6vxFacScN16Om15QqRXNyPZyjF5ljD3TjnK+5AcO4HX4TxGjO5ipQk8ZWqjJ7b7Pmwk/xqd1a7hdUJqm8NfK/+HMj6aVsABtvqwMlU2ujGBkoAAAAAAAAAAAAAAAAAAAAAAAAAAAAAAAAAAAAAAAAAAAV5ny8udvI8ws5GXjAjJxlzReGGk1hhNrYoegAAAAAAAAAAAAAAAAAAAAAAAAAAAAAAAAAAAAAAAAAAAAAAAAAAAAAAAAAAAAAAAAAAAAAAAAAAAAAAAAAAAAAAAAAAAAAAAAAAAAAAAAAAAAAAAAAAAAAAAAAAAAAAAAA//9k="/>
          <p:cNvSpPr>
            <a:spLocks noChangeAspect="1" noChangeArrowheads="1"/>
          </p:cNvSpPr>
          <p:nvPr/>
        </p:nvSpPr>
        <p:spPr bwMode="auto">
          <a:xfrm>
            <a:off x="217805" y="-163722"/>
            <a:ext cx="426720" cy="3454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17539" tIns="58769" rIns="117539" bIns="58769"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400" b="1" i="0" u="none" strike="noStrike" kern="1200" cap="none" spc="0" normalizeH="0" baseline="0" noProof="0" dirty="0">
              <a:ln>
                <a:noFill/>
              </a:ln>
              <a:solidFill>
                <a:srgbClr val="002776"/>
              </a:solidFill>
              <a:effectLst/>
              <a:uLnTx/>
              <a:uFillTx/>
              <a:latin typeface="Arial" pitchFamily="34" charset="0"/>
              <a:ea typeface="+mn-ea"/>
              <a:cs typeface="Arial" pitchFamily="34" charset="0"/>
            </a:endParaRPr>
          </a:p>
        </p:txBody>
      </p:sp>
      <p:sp>
        <p:nvSpPr>
          <p:cNvPr id="6" name="AutoShape 8" descr="data:image/jpeg;base64,/9j/4AAQSkZJRgABAQAAAQABAAD/2wCEAAkGBwgHBhUIBwgVFhUWFyAZGRgYFyUfIBwiICEmIhwgKR8kHDQsHCMlHCEnITErJSksOjEuHR8zOj8xNzEwLiwBCgoKDg0OGxAQGjcmICUsLDQ3Njc4LCw3LDcsNDA1LDIuLi8wNC0vNzAvLC0sNjY3NywyLC80NCwuLy43NywsLP/AABEIALcBEwMBEQACEQEDEQH/xAAbAAEAAQUBAAAAAAAAAAAAAAAABgECBAUHA//EADUQAAIBAwIEBAUBBwUAAAAAAAABAgMEEQUhBhIxQSJRYXETMoGRoUIHFBVSgqKxI2JywfH/xAAbAQEAAgMBAQAAAAAAAAAAAAAABQYCAwQBB//EADYRAAIBAwIEBQMCBQMFAAAAAAABAgMEESExBRJBUQZhcYGhEyKRwfAUIzKx0UKS4SVicoLx/9oADAMBAAIRAxEAPwDm5cCEAAAAAAAAAAAAAAAAAAAAAAAAAAAAAAAAAAAAAAAAAAAAAAAAAAAAAAAAAAAAAAAAAAAAAAAAAAAAAAAAAAAAAAAAAAAAAAAAAAAAAAAAAAAAAAAAAAAAAAAAAAAAAAAAAMrUbCvp1wqF1HDcIz+kkn+Onumc1pd07qDnTeicl/tbX6Z9DbVoypS5Zdk/yYp0moAAAAAAAAAAAAAAAAAAAAAAAAAAAAAAAAAAAAAAAAAAAGTcWNa3s6V3UXhq83L/AEvD/JzUrqnUrVKMX90MZ/8AZZRtlSlGEZvZ5+DGOk1AAmnC/D/D2t4cL2qqkcOVKTjvjrh8vij7fgpnG+NcU4dnNKLg9prOnbKzo/h9GyZs7S2r4xJ57Ep4x4f0nUMajql46ShHlcljdZylut3lvCXmVTw7xq+ts2ttT+o5PONdO/ttnJJX1pRqfzKksYOVX6s1dNac5uC6OeMv1wlt7H1a2+u6adxjm/7c4X53+CsVfp838vbzMc6DWeltRnc3EaFJbzkor3bwvya61WNKnKpLaKbfotWZQg5yUV1K3VCdrdTt6vzQk4v3TwzyjVjWpxqQ2kk16PUTg4ScX0PI2mIAAAAAAAAAAAAAAAAAAAAAAAAAAAAAAAAAAABJOGNH0TWWre4v6lOt2i8Yl/xeOvo/yVzjXEuIWCdWnRU6ffXK9V28/wA4JGzt7ev9spNS/v6E/wBW4Wsb3Q6Wn1a7hGgtp7Zwlh5ztv1fsfPuH+IrmhfVbiMOZ1f9OvfTGNdNkTtexpzoxpt4Uepy7W6OlW1z8HSbmdRLrOSST9tt16/+n1Ph1W8q0+e6goN7JZbXr09vz2K1cxowly0m35/4NaSJzEi4Q1Wz0KdXUbmPNPl5KcF3b3k2/wBKWEs+rK9x/h1fiMadrTfLDOZS7Y2SXVvLftq9iQsK8LfmqS1eyRsq/F8Ne0atpusUowlJc1OcflynmMX5dMZ9d8dSMo+GXw28pXVnJuK0knvh6NrbPfHlpnY6ZcRVxSlTqrD6MhZdCGL6Xw/ir4yfLnfHXHpkxnzcr5N/PY9jjP3bHRuD+G9ErXENW07UJ1OR55JJJp4eMrth7r2PnHiHjvEadOdncUVHmWOZNtNZ1w/Pbus6pFhsbO3clVpyzjoV4w4b0WncT1bUdQnT538kUm28JbLq2+v1PPDvHeITpws7eip8vVtrCz1flt3fTIvrKgpOrUljJzit8P4r+Any525uuPXB9Hhzcq59+uNvYr8uXP27FhmYgAAAAAAAAAAAAAAAAAAAAAAAAAAAAAAAAAA2vC9aztdZjeajPEKWZ4xlya+VJefM0/oyK41SuK1nKjbr7p/b2ST/AKm/LGUdVnKEKqnU2Wv+CV0eP6N9cVLTVrNRoVE4px3lFNYef5vpjHqVSp4NnbQhWtKmasGnropNa6dvfOeuCUjxaNSThUWIv96kBqw+HVdPnTw2sro8d16F+hLmipYxn4IKSw2i0yPAAAAAACV8N8QW3DeiTnRgp3FWWy7RjHaPM/fLwu2OhVOMcFq8WvIRm+WjBe8m98eySy+uyepKWl3C1otrWT+PUrxFxDbcSaHF3EFC4pSzjtOL2lyvtvh4fl3POEcEq8JvZKm+ajUXvFrVZ9srK90j26vIXVFZ0kvn0ImWwigAAAAAAAAAAAAAAAAAAAAAAAAAAAAAAAADZ22j1a+gVdWj0pzjH3z832bj92RlbiUKd/Ts3vOMn+NvylL8HTC2cqEqvZr/AJ/Q1hJnMAAAAAAAAAAAAAAAADZ8P6PV1q8lb0esacp/VLwr6yaX3IzivEoWFKNSfWUY/l6v2jlnTa2zrycV0Tf+Pk1hJnMAAAAAAAAAAAAAAAAAAAAAAAAAAAADaaFeaZbXHLrGnKrTfVqUlKPtiSTXo/uRfE7a8rU82dbkmvJNP1ym16r8HTbVKUZYqxyvfJ1+z0nTI6R+421tijNZcd9+b3eU/wDB8eueJXrvPr1J/wA2DxnTTHpp+jLXTt6SpckV9r9evycs4puNFjcSs9F0xQ5XiVSTlltPdKLlsvff2PqvBKHEXTVa9r82VlRSjhZ7tLV+mnqVq9nQUnClDGOupHywHAAAAAAAAAAAAAADIsLijbXKqXNpGrHvCTaz9U8p/f2Oe6o1KtNxp1HCXRpJ49msNfj1RspTjGWZRyjrvCFvorsf4jolm6aqbPLefC+m7ffyPkHiGvxFV/4W9qc3LqsYxr10S6d9i1WMKHJ9SlHGfUifGy4f0iu7W00hOtLxOUpT5Y5745vE/RbL8Fu8NPit9TVetcYpLRJKOXju8aL5fluRfEFbUXyxh93vj+5Bi8kKAAAAAAAAAAAAAAAAAAAAAAAAAAAe1nKjG6jK6i3BSTkl1aT3X1Wxqrqo6UlTeJYePJ9H7GdNxU05bEiueOtZq6mrujUUIrZUuscev8z9dvTBXKPhHh8LZ0Jrmk95f6s+Xb01z1yd8+K13U51ou3T3NNrl5R1HVJ3tClyfE8Tj5Sa8W/dOWX26k1w21na20aE5c3Lon3S/p06YWF7HJc1I1KjnFYz+2YB3GgAAAAAAAAAAAAAAAkdfiy8o6fS07SJulTpJeJfNOXWTfknLLx989Cu0/DtvUuKl1drnnNvR7RWyS7tLCz+MEhLiE4wjTpaJfJi8Q65/Ho069xRUa0E4Sa6SXWL9Gnnb1+h08J4SuGupTpyzTk8pPeL2a81tjr37mu6uv4hRlJfctPU0xMnGAAAAAAAAAAAAAAAAAAAAAAAAAAAAAAAAAAAAAAAAAAAAAAAAAAAAAAAAAAAAAAAAAAAAAAAAAAAAAAMpdWAb+10F1uDqusY3jUWP+C2l/dL+wga3F1T4vTsejg8/wDk9V8Rf+474WmbWVXrn4/b+CP5XmT2DgKgAAAAAAAAAAAAAAAAAAG94N0WOu6pKhUfhjTk2/Jtcsf7nn+kgvEPFXw21VVbuUV7ZzL4TXud1ha/XqOL2w/+DR1IypVHTqrEk8NeTXVfcnIyU4qUdU9TjlFxeGUPTEAAAAAAAAAAAAAAAAAAAAAAAA2/D2v3eiV80YKcG/FTktn7eT9V+SJ4rwijxCniTcZLaS0a9e68vw0ddrdzoS0WV2O1QUORQcEsr5f8/k+JTcudzUm8PfX2/sW9YxjByDi7X7vUr2dnKkqdOE3Hkj3cXjLfff6f5PsXAeEULWjGspOcpJPmfZr/AErp/d/BVb67nUm4Ywk9v8kdLCR4AAAAAAAAAAAAAAAAMiwvbjT7pXNpUxJfVP0afVGi5tqVzTdKqsp+34e6NlKrKnLmjudj4V1J6rosb+tbRpuTaeOjw8ZXll9j4zx6x/g72VvCbmks67rKzh+i1zoW2yrfVpKo1jJGv2h69dafcLTrOhGHPDmdTHieW00tvD03fX2LP4R4TRuaX8VVm5crxy64WMb999Ft69I7il1Ok/pxWMrc5yfRivgAAAAAAAAAAAAAAAAAAAAAAAHvZXH7peQuVTUnCSkk+ja3WfTJpuKP1qUqWccyayt9d8eZnTnyTUsbGRW1rUq2p/xKd5L4q6STxj0S6JenQ5qfC7Snbfwsaa+n27+b6589zbK6qyqfUctTy1S+nqV9K8rQSlLHNjo3jDeO2cZ98m2ytI2lGNGDbjHbPRZ0Xtt6GFaq6s3NrVmKdRqAAAAAAAAAAAAAAAAAANhqGsXd9a07OU+WlTilGC6bfqfnJvfL89sEfa8NoW9WddLM5ttye+vRdktsfnJ0VbmdSKhsl0Goaxd6laU6F9PndPKjN/Nh42b/AFdNm9+vU9tOG0LSrOpQXKp4yumV1S6Zzr0226qtzOrBRnrjqa87znAAAAAAAAAAAAAAAAAAAAAAAAAAAAAAAAAAAAAAAAAAAAAAAAAAAAAAAAAAAAAAAAAAAAAAAAAAAAAAMuz02/voOdlZ1KiWz5It4+3Q5bi+trZpVqijnu0s/k2woVKizCLZKrDhS5nwbXqVrSSrOalCLi+bEPTrlqUvfYql14joR4xRhConS5Wm8rGZee2nLH01JSlYSdpNuP3Z/t+2Re60jUrSj8a7sKkIrvKDS+7RaKHErOvPkpVYyfZNN/BGTt6sFmUWkYR2mkAAAAAAAAAAAAAHtaWlze1fhWlCU5YziKy/sjTXuKVCHPVkoru3hfkzhTlN4issl3BXC1zXv6j1WynCCpSiueLWXNcu2VviOfwVHxH4ho0qEP4WopS54t4aekXnXHdpfJK8PsZSnL6kWlh/JHqvD2s0W1PTKuI5y+R4275x09Sw0+NcPqY5a8cvGnMs69MZ3OCVnXTf2P8ADNYSZzAAAAAAAAAAAAAAAAAAAAAAAAAAAGXpd7e2F9GtptVxqZwsd89mu6b7M5L21t7mi6dxFOPn080+mO5uoValOadN6na/4pZ0LuGn3d3BVpRzy5xl9/bL6JvL9T4k+HXFSlO5o026Sb18v1x1a0XXBcPrwjJU5SXMzkvGN7qFzrtSjqVXPw5uMYraKXbC9Vh56n13w/a2lGxpzto454pt7tvrl+Tyuy6Iq1/VqyrONR7M0ZNnEAAAAAAAAAAAAAC6nUnSqKpSm008pp4afmn2MZwjOLjJZT6PXJ7GTi8o6/oWufA4bo3nEN5GMqnRvZtZxF4Xpu30Se58e4rwj6vEqtDh1NtR3S1SeNcZ89Et29i2W9zy0Izryw2Rf9p19f8A77C0Vf8A0JQU4qPSTzvl/qxs123XuWrwVZ230JVuX+bGTTzuvRdOz67+hG8Xq1OZRz9rRBi8kIAAAAAAAAAAAAAAAAAAAAAAAAAAAelvWqW1eNejLEovKeOjXR/RmurSjVg6c1lNYfmnuZQm4SUlui2pUnVqOpVm228tt5bfnnuZQhGEVGKwl07Hjk5PLPS6uq95V+Lc1HKWEuZ9XhYWX3eNsvyNdGhToR5Kawst46a6vHbXUynUlN5k9TxNxgXzpVIU41JQaUs4fnjZ/kwU4uTinqt/LJk4tJN9SwzMQAAAAAAAVhGU5qEFlt4SPJNRWXsepNvCK1ISp1HTnHDTw15NdRGSklJbMNNPDLT08Pa6uq93UU7io3hKK8klskl2S8kaaNCnRi401jLbfm3u33bM51JTeZMVLqvUto21So3GDbin+nPXHknjoI0KcakqsViUsZffG2fTIdSTiot6I8TcYAAAAAAAAAAAAAAAAAAAAAAAAAAAAAAAA3uicLXet0HUsLug2vmi5NSj7rk/K2ILiXiChw6fLXpzw9mkmn6Pm+Hhndb2E68cwkvn/BMtZ4LrXXD1tZWcoKpR+ZttJ8yzPfG/jxjbpkpnDvFVOjxC4r1k+SpjGMNrl0jpnH9O+u5L1+GudCEI7x/Xf5IDrWk1NHuf3a4uqUp9405N8vvmKSfp1L/w7iMb6n9WnCUY9HJJZ9NW/fbsQVxbuhLlck35GuJE5wAXVKc6cuWpFp4T38msp/VPJjGcZLMXndfh4f4aweuLW5aZHhdTip1FGVRRT7vOF9k39kYzk4xbSz5LGv5aXyj2Ky8N4Jzw1wReU9To39e4ozpKSnmE2843jjw4fix38yi8Z8WUHbVbaEJxqNOP3JLGdHnVvbJN2nC5qpGo2mt9CvE3BF5V1StqFvXowpSfPmc3HGd5Z8OF4s9zzgviy3jbUrapCcqiXL9qTzjbGudsC74ZOVSVSLSW+vyQarBU6jhGopYfVZw/bKT+6L1Tk5RUmsZ6PGV64bXyyEksPCeSwzPAAAAAAAAAAAAAAAAAAAAAAAAAAAAAAAAAAAbvgyDfEVOq6/JGGZzlzYxGO7y/JvEX7kJ4hl/0+pBQ5pS+2KxnLe2F3Wr8sHbw9fz084S1ft+8E/hxfpOsVKmmULmVNyi406r8Kbawmn1i89M4/wCj5+/DF7Yxp3c4Kai05RWuEn1Wz03xnHpqTi4jRrOVOLxnZ7HJ6sJ06jhVWJJtNPz7/k+swlGUVKOz2/Qq8k02nuWmR4SbTOCdQ1OjG4trmjKnJrMozeV57cuzXkytXvim0s5ypVYyU10a37a52fdElR4ZUqpSi00SXjHg261O/hcaVyJKmoSUnj5do9v5dvois+HvFNC1oSp3beeZtYWf6tX175fuSN9w2VWalTxtj8HPL+0djdO3lXhNrq4PKz5Zxv8AQ+h2twrimqii4p91h/jp7kBVp/Tly5T9DHOg1k74J1S24f0GpfahXlipPFOknly5Vu0u2W8N/wC1FE8S8OrcUvqdvbwX2rMpds7Jvd4Syl5k5w+vG3oOdR7vRehXjTVbbiHh6F7p9eX+nPFSk3hrm6NrviSwn/uZ54b4bW4XfzoXEV90ftl3xuk91lPLXl7i/rxuaCnTez1XqQMvhBgAAAAAAAAAAAAAAAAAAAAAAAAAAAAAAAAAAAFctLCYwMlACrbby2EsaIFACXfs7rwsLutqF3dclGEMS32lKT8Kx+p4Tx3Kj4uoyuaNO2ow5qkpaeSX9Tz0WWs9CW4VJU5SqSeIpfv9Tf6vxFacScN16Om15QqRXNyPZyjF5ljD3TjnK+5AcO4HX4TxGjO5ipQk8ZWqjJ7b7Pmwk/xqd1a7hdUJqm8NfK/+HMj6aVsABtvqwMlU2ujGBkoAAAAAAAAAAAAAAAAAAAAAAAAAAAAAAAAAAAAAAAAAAAV5ny8udvI8ws5GXjAjJxlzReGGk1hhNrYoegAAAAAAAAAAAAAAAAAAAAAAAAAAAAAAAAAAAAAAAAAAAAAAAAAAAAAAAAAAAAAAAAAAAAAAAAAAAAAAAAAAAAAAAAAAAAAAAAAAAAAAAAAAAAAAAAAAAAAAAAAAAAAAAAA//9k="/>
          <p:cNvSpPr>
            <a:spLocks noChangeAspect="1" noChangeArrowheads="1"/>
          </p:cNvSpPr>
          <p:nvPr/>
        </p:nvSpPr>
        <p:spPr bwMode="auto">
          <a:xfrm>
            <a:off x="431165" y="8998"/>
            <a:ext cx="426720" cy="3454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17539" tIns="58769" rIns="117539" bIns="58769"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400" b="1" i="0" u="none" strike="noStrike" kern="1200" cap="none" spc="0" normalizeH="0" baseline="0" noProof="0" dirty="0">
              <a:ln>
                <a:noFill/>
              </a:ln>
              <a:solidFill>
                <a:srgbClr val="002776"/>
              </a:solidFill>
              <a:effectLst/>
              <a:uLnTx/>
              <a:uFillTx/>
              <a:latin typeface="Arial" pitchFamily="34" charset="0"/>
              <a:ea typeface="+mn-ea"/>
              <a:cs typeface="Arial" pitchFamily="34" charset="0"/>
            </a:endParaRPr>
          </a:p>
        </p:txBody>
      </p:sp>
      <p:sp>
        <p:nvSpPr>
          <p:cNvPr id="14" name="TextBox 13"/>
          <p:cNvSpPr txBox="1"/>
          <p:nvPr/>
        </p:nvSpPr>
        <p:spPr>
          <a:xfrm>
            <a:off x="7959477" y="7377193"/>
            <a:ext cx="4594789" cy="253916"/>
          </a:xfrm>
          <a:prstGeom prst="rect">
            <a:avLst/>
          </a:prstGeom>
          <a:noFill/>
        </p:spPr>
        <p:txBody>
          <a:bodyPr wrap="square" rtlCol="0">
            <a:spAutoFit/>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sz="1050" b="0" i="0" u="none" strike="noStrike" kern="1200" cap="none" spc="0" normalizeH="0" baseline="0" noProof="0" dirty="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Sources: Deloitte Thought Leadership Materials</a:t>
            </a:r>
          </a:p>
        </p:txBody>
      </p:sp>
      <p:sp>
        <p:nvSpPr>
          <p:cNvPr id="4" name="Title 3"/>
          <p:cNvSpPr>
            <a:spLocks noGrp="1"/>
          </p:cNvSpPr>
          <p:nvPr>
            <p:ph type="title"/>
          </p:nvPr>
        </p:nvSpPr>
        <p:spPr>
          <a:xfrm>
            <a:off x="554508" y="399121"/>
            <a:ext cx="11662258" cy="423193"/>
          </a:xfrm>
        </p:spPr>
        <p:txBody>
          <a:bodyPr/>
          <a:lstStyle/>
          <a:p>
            <a:r>
              <a:rPr lang="en-US" sz="24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Are Our Internal Audit Teams Ready for The Future ?</a:t>
            </a:r>
            <a:endPar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pSp>
        <p:nvGrpSpPr>
          <p:cNvPr id="7" name="Group 6"/>
          <p:cNvGrpSpPr/>
          <p:nvPr/>
        </p:nvGrpSpPr>
        <p:grpSpPr>
          <a:xfrm>
            <a:off x="2599552" y="1726047"/>
            <a:ext cx="7852547" cy="6046353"/>
            <a:chOff x="1744663" y="1218692"/>
            <a:chExt cx="5716237" cy="5144355"/>
          </a:xfrm>
        </p:grpSpPr>
        <p:sp>
          <p:nvSpPr>
            <p:cNvPr id="31" name="Freeform 7"/>
            <p:cNvSpPr>
              <a:spLocks/>
            </p:cNvSpPr>
            <p:nvPr/>
          </p:nvSpPr>
          <p:spPr bwMode="auto">
            <a:xfrm>
              <a:off x="1744663" y="3896072"/>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4"/>
            </a:solidFill>
            <a:ln>
              <a:noFill/>
            </a:ln>
          </p:spPr>
          <p:txBody>
            <a:bodyPr vert="horz" wrap="square" lIns="91440" tIns="91440" rIns="91440" bIns="91440" numCol="1" anchor="t" anchorCtr="0" compatLnSpc="1">
              <a:prstTxWarp prst="textNoShape">
                <a:avLst/>
              </a:prstTxWarp>
            </a:bodyPr>
            <a:lstStyle/>
            <a:p>
              <a:endParaRPr lang="en-US" sz="1800">
                <a:latin typeface="Verdana" panose="020B0604030504040204" pitchFamily="34" charset="0"/>
                <a:ea typeface="Verdana" panose="020B0604030504040204" pitchFamily="34" charset="0"/>
                <a:cs typeface="Verdana" panose="020B0604030504040204" pitchFamily="34" charset="0"/>
              </a:endParaRPr>
            </a:p>
          </p:txBody>
        </p:sp>
        <p:sp>
          <p:nvSpPr>
            <p:cNvPr id="38" name="Freeform 7"/>
            <p:cNvSpPr>
              <a:spLocks/>
            </p:cNvSpPr>
            <p:nvPr/>
          </p:nvSpPr>
          <p:spPr bwMode="auto">
            <a:xfrm>
              <a:off x="1744663" y="2584858"/>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1"/>
            </a:solidFill>
            <a:ln>
              <a:noFill/>
            </a:ln>
          </p:spPr>
          <p:txBody>
            <a:bodyPr vert="horz" wrap="square" lIns="91440" tIns="91440" rIns="91440" bIns="91440" numCol="1" anchor="t" anchorCtr="0" compatLnSpc="1">
              <a:prstTxWarp prst="textNoShape">
                <a:avLst/>
              </a:prstTxWarp>
            </a:bodyPr>
            <a:lstStyle/>
            <a:p>
              <a:endParaRPr lang="en-US" sz="1800">
                <a:latin typeface="Verdana" panose="020B0604030504040204" pitchFamily="34" charset="0"/>
                <a:ea typeface="Verdana" panose="020B0604030504040204" pitchFamily="34" charset="0"/>
                <a:cs typeface="Verdana" panose="020B0604030504040204" pitchFamily="34" charset="0"/>
              </a:endParaRPr>
            </a:p>
          </p:txBody>
        </p:sp>
        <p:sp>
          <p:nvSpPr>
            <p:cNvPr id="39" name="Freeform 7"/>
            <p:cNvSpPr>
              <a:spLocks/>
            </p:cNvSpPr>
            <p:nvPr/>
          </p:nvSpPr>
          <p:spPr bwMode="auto">
            <a:xfrm flipH="1">
              <a:off x="4611338" y="3896072"/>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6"/>
            </a:solidFill>
            <a:ln>
              <a:noFill/>
            </a:ln>
          </p:spPr>
          <p:txBody>
            <a:bodyPr vert="horz" wrap="square" lIns="91440" tIns="91440" rIns="91440" bIns="91440" numCol="1" anchor="t" anchorCtr="0" compatLnSpc="1">
              <a:prstTxWarp prst="textNoShape">
                <a:avLst/>
              </a:prstTxWarp>
            </a:bodyPr>
            <a:lstStyle/>
            <a:p>
              <a:endParaRPr lang="en-US" sz="1800">
                <a:latin typeface="Verdana" panose="020B0604030504040204" pitchFamily="34" charset="0"/>
                <a:ea typeface="Verdana" panose="020B0604030504040204" pitchFamily="34" charset="0"/>
                <a:cs typeface="Verdana" panose="020B0604030504040204" pitchFamily="34" charset="0"/>
              </a:endParaRPr>
            </a:p>
          </p:txBody>
        </p:sp>
        <p:sp>
          <p:nvSpPr>
            <p:cNvPr id="40" name="Freeform 7"/>
            <p:cNvSpPr>
              <a:spLocks/>
            </p:cNvSpPr>
            <p:nvPr/>
          </p:nvSpPr>
          <p:spPr bwMode="auto">
            <a:xfrm flipH="1">
              <a:off x="4611338" y="2584858"/>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3"/>
            </a:solidFill>
            <a:ln>
              <a:noFill/>
            </a:ln>
          </p:spPr>
          <p:txBody>
            <a:bodyPr vert="horz" wrap="square" lIns="91440" tIns="91440" rIns="91440" bIns="91440" numCol="1" anchor="t" anchorCtr="0" compatLnSpc="1">
              <a:prstTxWarp prst="textNoShape">
                <a:avLst/>
              </a:prstTxWarp>
            </a:bodyPr>
            <a:lstStyle/>
            <a:p>
              <a:endParaRPr lang="en-US" sz="1800">
                <a:latin typeface="Verdana" panose="020B0604030504040204" pitchFamily="34" charset="0"/>
                <a:ea typeface="Verdana" panose="020B0604030504040204" pitchFamily="34" charset="0"/>
                <a:cs typeface="Verdana" panose="020B0604030504040204" pitchFamily="34" charset="0"/>
              </a:endParaRPr>
            </a:p>
          </p:txBody>
        </p:sp>
        <p:sp>
          <p:nvSpPr>
            <p:cNvPr id="41" name="Rectangle 40"/>
            <p:cNvSpPr/>
            <p:nvPr/>
          </p:nvSpPr>
          <p:spPr>
            <a:xfrm>
              <a:off x="2717738" y="4236964"/>
              <a:ext cx="1554480" cy="600164"/>
            </a:xfrm>
            <a:prstGeom prst="rect">
              <a:avLst/>
            </a:prstGeom>
          </p:spPr>
          <p:txBody>
            <a:bodyPr wrap="square" lIns="0" tIns="0" rIns="0" bIns="0" anchor="ctr" anchorCtr="0">
              <a:noAutofit/>
            </a:bodyPr>
            <a:lstStyle/>
            <a:p>
              <a:r>
                <a:rPr lang="en-US" sz="16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Inadequate monitoring of audit remediation</a:t>
              </a:r>
              <a:endParaRPr lang="en-US" sz="16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42" name="Rectangle 41"/>
            <p:cNvSpPr/>
            <p:nvPr/>
          </p:nvSpPr>
          <p:spPr>
            <a:xfrm>
              <a:off x="2717738" y="2932782"/>
              <a:ext cx="1554480" cy="600164"/>
            </a:xfrm>
            <a:prstGeom prst="rect">
              <a:avLst/>
            </a:prstGeom>
          </p:spPr>
          <p:txBody>
            <a:bodyPr wrap="square" lIns="0" tIns="0" rIns="0" bIns="0" anchor="ctr" anchorCtr="0">
              <a:noAutofit/>
            </a:bodyPr>
            <a:lstStyle/>
            <a:p>
              <a:r>
                <a:rPr lang="en-US" sz="16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Audit Plans not reflecting continuous audit needs</a:t>
              </a:r>
              <a:endParaRPr lang="en-US" sz="16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43" name="Freeform 7"/>
            <p:cNvSpPr>
              <a:spLocks/>
            </p:cNvSpPr>
            <p:nvPr/>
          </p:nvSpPr>
          <p:spPr bwMode="auto">
            <a:xfrm>
              <a:off x="1744663" y="1218692"/>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5"/>
            </a:solidFill>
            <a:ln>
              <a:noFill/>
            </a:ln>
          </p:spPr>
          <p:txBody>
            <a:bodyPr vert="horz" wrap="square" lIns="91440" tIns="91440" rIns="91440" bIns="91440" numCol="1" anchor="t" anchorCtr="0" compatLnSpc="1">
              <a:prstTxWarp prst="textNoShape">
                <a:avLst/>
              </a:prstTxWarp>
            </a:bodyPr>
            <a:lstStyle/>
            <a:p>
              <a:endParaRPr lang="en-US" sz="1800">
                <a:latin typeface="Verdana" panose="020B0604030504040204" pitchFamily="34" charset="0"/>
                <a:ea typeface="Verdana" panose="020B0604030504040204" pitchFamily="34" charset="0"/>
                <a:cs typeface="Verdana" panose="020B0604030504040204" pitchFamily="34" charset="0"/>
              </a:endParaRPr>
            </a:p>
          </p:txBody>
        </p:sp>
        <p:sp>
          <p:nvSpPr>
            <p:cNvPr id="44" name="Rectangle 43"/>
            <p:cNvSpPr/>
            <p:nvPr/>
          </p:nvSpPr>
          <p:spPr>
            <a:xfrm>
              <a:off x="4900707" y="2932782"/>
              <a:ext cx="1554480" cy="600164"/>
            </a:xfrm>
            <a:prstGeom prst="rect">
              <a:avLst/>
            </a:prstGeom>
          </p:spPr>
          <p:txBody>
            <a:bodyPr wrap="square" lIns="0" tIns="0" rIns="0" bIns="0" anchor="ctr" anchorCtr="0">
              <a:noAutofit/>
            </a:bodyPr>
            <a:lstStyle/>
            <a:p>
              <a:pPr algn="r"/>
              <a:r>
                <a:rPr lang="en-US" sz="16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Auditor seen as Police, not as Pal</a:t>
              </a:r>
              <a:endParaRPr lang="en-US" sz="16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Rectangle 45"/>
            <p:cNvSpPr/>
            <p:nvPr/>
          </p:nvSpPr>
          <p:spPr>
            <a:xfrm>
              <a:off x="4900707" y="4236964"/>
              <a:ext cx="1554480" cy="600164"/>
            </a:xfrm>
            <a:prstGeom prst="rect">
              <a:avLst/>
            </a:prstGeom>
          </p:spPr>
          <p:txBody>
            <a:bodyPr wrap="square" lIns="0" tIns="0" rIns="0" bIns="0" anchor="ctr" anchorCtr="0">
              <a:noAutofit/>
            </a:bodyPr>
            <a:lstStyle/>
            <a:p>
              <a:pPr algn="r"/>
              <a:r>
                <a:rPr lang="en-US" sz="16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Cyber Security risks not given adequate priority in Audit reporting</a:t>
              </a:r>
              <a:endParaRPr lang="en-US" sz="16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Rectangle 48"/>
            <p:cNvSpPr/>
            <p:nvPr/>
          </p:nvSpPr>
          <p:spPr>
            <a:xfrm>
              <a:off x="2717738" y="1557094"/>
              <a:ext cx="1554480" cy="600164"/>
            </a:xfrm>
            <a:prstGeom prst="rect">
              <a:avLst/>
            </a:prstGeom>
          </p:spPr>
          <p:txBody>
            <a:bodyPr wrap="square" lIns="0" tIns="0" rIns="0" bIns="0" anchor="ctr" anchorCtr="0">
              <a:noAutofit/>
            </a:bodyPr>
            <a:lstStyle/>
            <a:p>
              <a:r>
                <a:rPr lang="en-US" sz="16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Constant need for skills </a:t>
              </a:r>
              <a:r>
                <a:rPr lang="en-US" sz="1600" dirty="0">
                  <a:solidFill>
                    <a:schemeClr val="bg1"/>
                  </a:solidFill>
                  <a:latin typeface="Verdana" panose="020B0604030504040204" pitchFamily="34" charset="0"/>
                  <a:ea typeface="Verdana" panose="020B0604030504040204" pitchFamily="34" charset="0"/>
                  <a:cs typeface="Verdana" panose="020B0604030504040204" pitchFamily="34" charset="0"/>
                </a:rPr>
                <a:t>u</a:t>
              </a:r>
              <a:r>
                <a:rPr lang="en-US" sz="16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pgrade</a:t>
              </a:r>
              <a:endParaRPr lang="en-US" sz="16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73" name="Group 360"/>
          <p:cNvGrpSpPr>
            <a:grpSpLocks noChangeAspect="1"/>
          </p:cNvGrpSpPr>
          <p:nvPr/>
        </p:nvGrpSpPr>
        <p:grpSpPr bwMode="auto">
          <a:xfrm>
            <a:off x="3000363" y="2073364"/>
            <a:ext cx="758036" cy="755814"/>
            <a:chOff x="1935" y="1199"/>
            <a:chExt cx="341" cy="340"/>
          </a:xfrm>
          <a:solidFill>
            <a:schemeClr val="bg1"/>
          </a:solidFill>
        </p:grpSpPr>
        <p:sp>
          <p:nvSpPr>
            <p:cNvPr id="74"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solidFill>
                <a:schemeClr val="bg1"/>
              </a:solidFill>
            </a:ln>
            <a:extLst/>
          </p:spPr>
          <p:txBody>
            <a:bodyPr vert="horz" wrap="square" lIns="91440" tIns="45720" rIns="91440" bIns="45720" numCol="1" anchor="t" anchorCtr="0" compatLnSpc="1">
              <a:prstTxWarp prst="textNoShape">
                <a:avLst/>
              </a:prstTxWarp>
            </a:bodyPr>
            <a:lstStyle/>
            <a:p>
              <a:endParaRPr lang="en-GB"/>
            </a:p>
          </p:txBody>
        </p:sp>
        <p:sp>
          <p:nvSpPr>
            <p:cNvPr id="75"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solidFill>
            </a:ln>
            <a:extLst/>
          </p:spPr>
          <p:txBody>
            <a:bodyPr vert="horz" wrap="square" lIns="91440" tIns="45720" rIns="91440" bIns="45720" numCol="1" anchor="t" anchorCtr="0" compatLnSpc="1">
              <a:prstTxWarp prst="textNoShape">
                <a:avLst/>
              </a:prstTxWarp>
            </a:bodyPr>
            <a:lstStyle/>
            <a:p>
              <a:endParaRPr lang="en-GB"/>
            </a:p>
          </p:txBody>
        </p:sp>
      </p:grpSp>
      <p:grpSp>
        <p:nvGrpSpPr>
          <p:cNvPr id="76" name="Group 432"/>
          <p:cNvGrpSpPr>
            <a:grpSpLocks noChangeAspect="1"/>
          </p:cNvGrpSpPr>
          <p:nvPr/>
        </p:nvGrpSpPr>
        <p:grpSpPr bwMode="auto">
          <a:xfrm>
            <a:off x="2955226" y="3740681"/>
            <a:ext cx="767812" cy="770070"/>
            <a:chOff x="3505" y="1546"/>
            <a:chExt cx="340" cy="341"/>
          </a:xfrm>
          <a:solidFill>
            <a:schemeClr val="bg1"/>
          </a:solidFill>
        </p:grpSpPr>
        <p:sp>
          <p:nvSpPr>
            <p:cNvPr id="77"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9" name="Group 987"/>
          <p:cNvGrpSpPr>
            <a:grpSpLocks noChangeAspect="1"/>
          </p:cNvGrpSpPr>
          <p:nvPr/>
        </p:nvGrpSpPr>
        <p:grpSpPr bwMode="auto">
          <a:xfrm>
            <a:off x="3065785" y="5281070"/>
            <a:ext cx="671749" cy="671749"/>
            <a:chOff x="2699" y="3996"/>
            <a:chExt cx="340" cy="340"/>
          </a:xfrm>
          <a:solidFill>
            <a:schemeClr val="bg1"/>
          </a:solidFill>
        </p:grpSpPr>
        <p:sp>
          <p:nvSpPr>
            <p:cNvPr id="80" name="Freeform 988"/>
            <p:cNvSpPr>
              <a:spLocks noEditPoints="1"/>
            </p:cNvSpPr>
            <p:nvPr/>
          </p:nvSpPr>
          <p:spPr bwMode="auto">
            <a:xfrm>
              <a:off x="2762" y="4073"/>
              <a:ext cx="199" cy="199"/>
            </a:xfrm>
            <a:custGeom>
              <a:avLst/>
              <a:gdLst>
                <a:gd name="T0" fmla="*/ 150 w 300"/>
                <a:gd name="T1" fmla="*/ 300 h 300"/>
                <a:gd name="T2" fmla="*/ 149 w 300"/>
                <a:gd name="T3" fmla="*/ 300 h 300"/>
                <a:gd name="T4" fmla="*/ 140 w 300"/>
                <a:gd name="T5" fmla="*/ 293 h 300"/>
                <a:gd name="T6" fmla="*/ 105 w 300"/>
                <a:gd name="T7" fmla="*/ 196 h 300"/>
                <a:gd name="T8" fmla="*/ 8 w 300"/>
                <a:gd name="T9" fmla="*/ 160 h 300"/>
                <a:gd name="T10" fmla="*/ 1 w 300"/>
                <a:gd name="T11" fmla="*/ 151 h 300"/>
                <a:gd name="T12" fmla="*/ 7 w 300"/>
                <a:gd name="T13" fmla="*/ 141 h 300"/>
                <a:gd name="T14" fmla="*/ 284 w 300"/>
                <a:gd name="T15" fmla="*/ 2 h 300"/>
                <a:gd name="T16" fmla="*/ 296 w 300"/>
                <a:gd name="T17" fmla="*/ 4 h 300"/>
                <a:gd name="T18" fmla="*/ 298 w 300"/>
                <a:gd name="T19" fmla="*/ 16 h 300"/>
                <a:gd name="T20" fmla="*/ 160 w 300"/>
                <a:gd name="T21" fmla="*/ 294 h 300"/>
                <a:gd name="T22" fmla="*/ 150 w 300"/>
                <a:gd name="T23" fmla="*/ 300 h 300"/>
                <a:gd name="T24" fmla="*/ 38 w 300"/>
                <a:gd name="T25" fmla="*/ 149 h 300"/>
                <a:gd name="T26" fmla="*/ 117 w 300"/>
                <a:gd name="T27" fmla="*/ 178 h 300"/>
                <a:gd name="T28" fmla="*/ 123 w 300"/>
                <a:gd name="T29" fmla="*/ 184 h 300"/>
                <a:gd name="T30" fmla="*/ 152 w 300"/>
                <a:gd name="T31" fmla="*/ 262 h 300"/>
                <a:gd name="T32" fmla="*/ 265 w 300"/>
                <a:gd name="T33" fmla="*/ 36 h 300"/>
                <a:gd name="T34" fmla="*/ 38 w 300"/>
                <a:gd name="T35"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0" h="300">
                  <a:moveTo>
                    <a:pt x="150" y="300"/>
                  </a:moveTo>
                  <a:cubicBezTo>
                    <a:pt x="150" y="300"/>
                    <a:pt x="150" y="300"/>
                    <a:pt x="149" y="300"/>
                  </a:cubicBezTo>
                  <a:cubicBezTo>
                    <a:pt x="145" y="299"/>
                    <a:pt x="141" y="297"/>
                    <a:pt x="140" y="293"/>
                  </a:cubicBezTo>
                  <a:cubicBezTo>
                    <a:pt x="105" y="196"/>
                    <a:pt x="105" y="196"/>
                    <a:pt x="105" y="196"/>
                  </a:cubicBezTo>
                  <a:cubicBezTo>
                    <a:pt x="8" y="160"/>
                    <a:pt x="8" y="160"/>
                    <a:pt x="8" y="160"/>
                  </a:cubicBezTo>
                  <a:cubicBezTo>
                    <a:pt x="4" y="159"/>
                    <a:pt x="1" y="155"/>
                    <a:pt x="1" y="151"/>
                  </a:cubicBezTo>
                  <a:cubicBezTo>
                    <a:pt x="0" y="147"/>
                    <a:pt x="3" y="143"/>
                    <a:pt x="7" y="141"/>
                  </a:cubicBezTo>
                  <a:cubicBezTo>
                    <a:pt x="284" y="2"/>
                    <a:pt x="284" y="2"/>
                    <a:pt x="284" y="2"/>
                  </a:cubicBezTo>
                  <a:cubicBezTo>
                    <a:pt x="288" y="0"/>
                    <a:pt x="293" y="1"/>
                    <a:pt x="296" y="4"/>
                  </a:cubicBezTo>
                  <a:cubicBezTo>
                    <a:pt x="299" y="7"/>
                    <a:pt x="300" y="12"/>
                    <a:pt x="298" y="16"/>
                  </a:cubicBezTo>
                  <a:cubicBezTo>
                    <a:pt x="160" y="294"/>
                    <a:pt x="160" y="294"/>
                    <a:pt x="160" y="294"/>
                  </a:cubicBezTo>
                  <a:cubicBezTo>
                    <a:pt x="158" y="297"/>
                    <a:pt x="154" y="300"/>
                    <a:pt x="150" y="300"/>
                  </a:cubicBezTo>
                  <a:close/>
                  <a:moveTo>
                    <a:pt x="38" y="149"/>
                  </a:moveTo>
                  <a:cubicBezTo>
                    <a:pt x="117" y="178"/>
                    <a:pt x="117" y="178"/>
                    <a:pt x="117" y="178"/>
                  </a:cubicBezTo>
                  <a:cubicBezTo>
                    <a:pt x="120" y="179"/>
                    <a:pt x="122" y="181"/>
                    <a:pt x="123" y="184"/>
                  </a:cubicBezTo>
                  <a:cubicBezTo>
                    <a:pt x="152" y="262"/>
                    <a:pt x="152" y="262"/>
                    <a:pt x="152" y="262"/>
                  </a:cubicBezTo>
                  <a:cubicBezTo>
                    <a:pt x="265" y="36"/>
                    <a:pt x="265" y="36"/>
                    <a:pt x="265" y="36"/>
                  </a:cubicBezTo>
                  <a:lnTo>
                    <a:pt x="38"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989"/>
            <p:cNvSpPr>
              <a:spLocks noEditPoints="1"/>
            </p:cNvSpPr>
            <p:nvPr/>
          </p:nvSpPr>
          <p:spPr bwMode="auto">
            <a:xfrm>
              <a:off x="2699" y="39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2" name="Group 192"/>
          <p:cNvGrpSpPr>
            <a:grpSpLocks noChangeAspect="1"/>
          </p:cNvGrpSpPr>
          <p:nvPr/>
        </p:nvGrpSpPr>
        <p:grpSpPr bwMode="auto">
          <a:xfrm>
            <a:off x="9349635" y="3669101"/>
            <a:ext cx="852923" cy="852923"/>
            <a:chOff x="378" y="713"/>
            <a:chExt cx="340" cy="340"/>
          </a:xfrm>
          <a:solidFill>
            <a:schemeClr val="bg1"/>
          </a:solidFill>
        </p:grpSpPr>
        <p:sp>
          <p:nvSpPr>
            <p:cNvPr id="83" name="Freeform 193"/>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194"/>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5" name="Group 360"/>
          <p:cNvGrpSpPr>
            <a:grpSpLocks noChangeAspect="1"/>
          </p:cNvGrpSpPr>
          <p:nvPr/>
        </p:nvGrpSpPr>
        <p:grpSpPr bwMode="auto">
          <a:xfrm>
            <a:off x="9477061" y="5316173"/>
            <a:ext cx="737764" cy="735601"/>
            <a:chOff x="1935" y="1199"/>
            <a:chExt cx="341" cy="340"/>
          </a:xfrm>
          <a:solidFill>
            <a:schemeClr val="bg1"/>
          </a:solidFill>
        </p:grpSpPr>
        <p:sp>
          <p:nvSpPr>
            <p:cNvPr id="86"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2230162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580072" y="883394"/>
            <a:ext cx="11662259" cy="1061829"/>
          </a:xfrm>
        </p:spPr>
        <p:txBody>
          <a:bodyPr/>
          <a:lstStyle/>
          <a:p>
            <a:r>
              <a:rPr lang="en-ZA" i="1" dirty="0"/>
              <a:t>Cybersecurity is a business issue as it exceeds the boundaries of IT, and cyber risk needs to be managed with as much discipline as financial risk</a:t>
            </a:r>
            <a:r>
              <a:rPr lang="en-ZA" i="1" dirty="0" smtClean="0"/>
              <a:t>. The 5 pronged approach to achieve that is:</a:t>
            </a:r>
            <a:endParaRPr lang="en-ZA" i="1" dirty="0"/>
          </a:p>
        </p:txBody>
      </p:sp>
      <p:sp>
        <p:nvSpPr>
          <p:cNvPr id="5" name="AutoShape 6" descr="data:image/jpeg;base64,/9j/4AAQSkZJRgABAQAAAQABAAD/2wCEAAkGBwgHBhUIBwgVFhUWFyAZGRgYFyUfIBwiICEmIhwgKR8kHDQsHCMlHCEnITErJSksOjEuHR8zOj8xNzEwLiwBCgoKDg0OGxAQGjcmICUsLDQ3Njc4LCw3LDcsNDA1LDIuLi8wNC0vNzAvLC0sNjY3NywyLC80NCwuLy43NywsLP/AABEIALcBEwMBEQACEQEDEQH/xAAbAAEAAQUBAAAAAAAAAAAAAAAABgECBAUHA//EADUQAAIBAwIEBAUBBwUAAAAAAAABAgMEEQUhBhIxQSJRYXETMoGRoUIHFBVSgqKxI2JywfH/xAAbAQEAAgMBAQAAAAAAAAAAAAAABQYCAwQBB//EADYRAAIBAwIEBQMCBQMFAAAAAAABAgMEESExBRJBUQZhcYGhEyKRwfAUIzKx0UKS4SVicoLx/9oADAMBAAIRAxEAPwDm5cCEAAAAAAAAAAAAAAAAAAAAAAAAAAAAAAAAAAAAAAAAAAAAAAAAAAAAAAAAAAAAAAAAAAAAAAAAAAAAAAAAAAAAAAAAAAAAAAAAAAAAAAAAAAAAAAAAAAAAAAAAAAAAAAAAAMrUbCvp1wqF1HDcIz+kkn+Onumc1pd07qDnTeicl/tbX6Z9DbVoypS5Zdk/yYp0moAAAAAAAAAAAAAAAAAAAAAAAAAAAAAAAAAAAAAAAAAAAGTcWNa3s6V3UXhq83L/AEvD/JzUrqnUrVKMX90MZ/8AZZRtlSlGEZvZ5+DGOk1AAmnC/D/D2t4cL2qqkcOVKTjvjrh8vij7fgpnG+NcU4dnNKLg9prOnbKzo/h9GyZs7S2r4xJ57Ep4x4f0nUMajql46ShHlcljdZylut3lvCXmVTw7xq+ts2ttT+o5PONdO/ttnJJX1pRqfzKksYOVX6s1dNac5uC6OeMv1wlt7H1a2+u6adxjm/7c4X53+CsVfp838vbzMc6DWeltRnc3EaFJbzkor3bwvya61WNKnKpLaKbfotWZQg5yUV1K3VCdrdTt6vzQk4v3TwzyjVjWpxqQ2kk16PUTg4ScX0PI2mIAAAAAAAAAAAAAAAAAAAAAAAAAAAAAAAAAAABJOGNH0TWWre4v6lOt2i8Yl/xeOvo/yVzjXEuIWCdWnRU6ffXK9V28/wA4JGzt7ev9spNS/v6E/wBW4Wsb3Q6Wn1a7hGgtp7Zwlh5ztv1fsfPuH+IrmhfVbiMOZ1f9OvfTGNdNkTtexpzoxpt4Uepy7W6OlW1z8HSbmdRLrOSST9tt16/+n1Ph1W8q0+e6goN7JZbXr09vz2K1cxowly0m35/4NaSJzEi4Q1Wz0KdXUbmPNPl5KcF3b3k2/wBKWEs+rK9x/h1fiMadrTfLDOZS7Y2SXVvLftq9iQsK8LfmqS1eyRsq/F8Ne0atpusUowlJc1OcflynmMX5dMZ9d8dSMo+GXw28pXVnJuK0knvh6NrbPfHlpnY6ZcRVxSlTqrD6MhZdCGL6Xw/ir4yfLnfHXHpkxnzcr5N/PY9jjP3bHRuD+G9ErXENW07UJ1OR55JJJp4eMrth7r2PnHiHjvEadOdncUVHmWOZNtNZ1w/Pbus6pFhsbO3clVpyzjoV4w4b0WncT1bUdQnT538kUm28JbLq2+v1PPDvHeITpws7eip8vVtrCz1flt3fTIvrKgpOrUljJzit8P4r+Any525uuPXB9Hhzcq59+uNvYr8uXP27FhmYgAAAAAAAAAAAAAAAAAAAAAAAAAAAAAAAAAA2vC9aztdZjeajPEKWZ4xlya+VJefM0/oyK41SuK1nKjbr7p/b2ST/AKm/LGUdVnKEKqnU2Wv+CV0eP6N9cVLTVrNRoVE4px3lFNYef5vpjHqVSp4NnbQhWtKmasGnropNa6dvfOeuCUjxaNSThUWIv96kBqw+HVdPnTw2sro8d16F+hLmipYxn4IKSw2i0yPAAAAAACV8N8QW3DeiTnRgp3FWWy7RjHaPM/fLwu2OhVOMcFq8WvIRm+WjBe8m98eySy+uyepKWl3C1otrWT+PUrxFxDbcSaHF3EFC4pSzjtOL2lyvtvh4fl3POEcEq8JvZKm+ajUXvFrVZ9srK90j26vIXVFZ0kvn0ImWwigAAAAAAAAAAAAAAAAAAAAAAAAAAAAAAAADZ22j1a+gVdWj0pzjH3z832bj92RlbiUKd/Ts3vOMn+NvylL8HTC2cqEqvZr/AJ/Q1hJnMAAAAAAAAAAAAAAAADZ8P6PV1q8lb0esacp/VLwr6yaX3IzivEoWFKNSfWUY/l6v2jlnTa2zrycV0Tf+Pk1hJnMAAAAAAAAAAAAAAAAAAAAAAAAAAAADaaFeaZbXHLrGnKrTfVqUlKPtiSTXo/uRfE7a8rU82dbkmvJNP1ym16r8HTbVKUZYqxyvfJ1+z0nTI6R+421tijNZcd9+b3eU/wDB8eueJXrvPr1J/wA2DxnTTHpp+jLXTt6SpckV9r9evycs4puNFjcSs9F0xQ5XiVSTlltPdKLlsvff2PqvBKHEXTVa9r82VlRSjhZ7tLV+mnqVq9nQUnClDGOupHywHAAAAAAAAAAAAAADIsLijbXKqXNpGrHvCTaz9U8p/f2Oe6o1KtNxp1HCXRpJ49msNfj1RspTjGWZRyjrvCFvorsf4jolm6aqbPLefC+m7ffyPkHiGvxFV/4W9qc3LqsYxr10S6d9i1WMKHJ9SlHGfUifGy4f0iu7W00hOtLxOUpT5Y5745vE/RbL8Fu8NPit9TVetcYpLRJKOXju8aL5fluRfEFbUXyxh93vj+5Bi8kKAAAAAAAAAAAAAAAAAAAAAAAAAAAe1nKjG6jK6i3BSTkl1aT3X1Wxqrqo6UlTeJYePJ9H7GdNxU05bEiueOtZq6mrujUUIrZUuscev8z9dvTBXKPhHh8LZ0Jrmk95f6s+Xb01z1yd8+K13U51ou3T3NNrl5R1HVJ3tClyfE8Tj5Sa8W/dOWX26k1w21na20aE5c3Lon3S/p06YWF7HJc1I1KjnFYz+2YB3GgAAAAAAAAAAAAAAAkdfiy8o6fS07SJulTpJeJfNOXWTfknLLx989Cu0/DtvUuKl1drnnNvR7RWyS7tLCz+MEhLiE4wjTpaJfJi8Q65/Ho069xRUa0E4Sa6SXWL9Gnnb1+h08J4SuGupTpyzTk8pPeL2a81tjr37mu6uv4hRlJfctPU0xMnGAAAAAAAAAAAAAAAAAAAAAAAAAAAAAAAAAAAAAAAAAAAAAAAAAAAAAAAAAAAAAAAAAAAAAAAAAAAAAAMpdWAb+10F1uDqusY3jUWP+C2l/dL+wga3F1T4vTsejg8/wDk9V8Rf+474WmbWVXrn4/b+CP5XmT2DgKgAAAAAAAAAAAAAAAAAAG94N0WOu6pKhUfhjTk2/Jtcsf7nn+kgvEPFXw21VVbuUV7ZzL4TXud1ha/XqOL2w/+DR1IypVHTqrEk8NeTXVfcnIyU4qUdU9TjlFxeGUPTEAAAAAAAAAAAAAAAAAAAAAAAA2/D2v3eiV80YKcG/FTktn7eT9V+SJ4rwijxCniTcZLaS0a9e68vw0ddrdzoS0WV2O1QUORQcEsr5f8/k+JTcudzUm8PfX2/sW9YxjByDi7X7vUr2dnKkqdOE3Hkj3cXjLfff6f5PsXAeEULWjGspOcpJPmfZr/AErp/d/BVb67nUm4Ywk9v8kdLCR4AAAAAAAAAAAAAAAAMiwvbjT7pXNpUxJfVP0afVGi5tqVzTdKqsp+34e6NlKrKnLmjudj4V1J6rosb+tbRpuTaeOjw8ZXll9j4zx6x/g72VvCbmks67rKzh+i1zoW2yrfVpKo1jJGv2h69dafcLTrOhGHPDmdTHieW00tvD03fX2LP4R4TRuaX8VVm5crxy64WMb999Ft69I7il1Ok/pxWMrc5yfRivgAAAAAAAAAAAAAAAAAAAAAAAHvZXH7peQuVTUnCSkk+ja3WfTJpuKP1qUqWccyayt9d8eZnTnyTUsbGRW1rUq2p/xKd5L4q6STxj0S6JenQ5qfC7Snbfwsaa+n27+b6589zbK6qyqfUctTy1S+nqV9K8rQSlLHNjo3jDeO2cZ98m2ytI2lGNGDbjHbPRZ0Xtt6GFaq6s3NrVmKdRqAAAAAAAAAAAAAAAAAANhqGsXd9a07OU+WlTilGC6bfqfnJvfL89sEfa8NoW9WddLM5ttye+vRdktsfnJ0VbmdSKhsl0Goaxd6laU6F9PndPKjN/Nh42b/AFdNm9+vU9tOG0LSrOpQXKp4yumV1S6Zzr0226qtzOrBRnrjqa87znAAAAAAAAAAAAAAAAAAAAAAAAAAAAAAAAAAAAAAAAAAAAAAAAAAAAAAAAAAAAAAAAAAAAAAAAAAAAAAMuz02/voOdlZ1KiWz5It4+3Q5bi+trZpVqijnu0s/k2woVKizCLZKrDhS5nwbXqVrSSrOalCLi+bEPTrlqUvfYql14joR4xRhConS5Wm8rGZee2nLH01JSlYSdpNuP3Z/t+2Re60jUrSj8a7sKkIrvKDS+7RaKHErOvPkpVYyfZNN/BGTt6sFmUWkYR2mkAAAAAAAAAAAAAHtaWlze1fhWlCU5YziKy/sjTXuKVCHPVkoru3hfkzhTlN4issl3BXC1zXv6j1WynCCpSiueLWXNcu2VviOfwVHxH4ho0qEP4WopS54t4aekXnXHdpfJK8PsZSnL6kWlh/JHqvD2s0W1PTKuI5y+R4275x09Sw0+NcPqY5a8cvGnMs69MZ3OCVnXTf2P8ADNYSZzAAAAAAAAAAAAAAAAAAAAAAAAAAAGXpd7e2F9GtptVxqZwsd89mu6b7M5L21t7mi6dxFOPn080+mO5uoValOadN6na/4pZ0LuGn3d3BVpRzy5xl9/bL6JvL9T4k+HXFSlO5o026Sb18v1x1a0XXBcPrwjJU5SXMzkvGN7qFzrtSjqVXPw5uMYraKXbC9Vh56n13w/a2lGxpzto454pt7tvrl+Tyuy6Iq1/VqyrONR7M0ZNnEAAAAAAAAAAAAAC6nUnSqKpSm008pp4afmn2MZwjOLjJZT6PXJ7GTi8o6/oWufA4bo3nEN5GMqnRvZtZxF4Xpu30Se58e4rwj6vEqtDh1NtR3S1SeNcZ89Et29i2W9zy0Izryw2Rf9p19f8A77C0Vf8A0JQU4qPSTzvl/qxs123XuWrwVZ230JVuX+bGTTzuvRdOz67+hG8Xq1OZRz9rRBi8kIAAAAAAAAAAAAAAAAAAAAAAAAAAAelvWqW1eNejLEovKeOjXR/RmurSjVg6c1lNYfmnuZQm4SUlui2pUnVqOpVm228tt5bfnnuZQhGEVGKwl07Hjk5PLPS6uq95V+Lc1HKWEuZ9XhYWX3eNsvyNdGhToR5Kawst46a6vHbXUynUlN5k9TxNxgXzpVIU41JQaUs4fnjZ/kwU4uTinqt/LJk4tJN9SwzMQAAAAAAAVhGU5qEFlt4SPJNRWXsepNvCK1ISp1HTnHDTw15NdRGSklJbMNNPDLT08Pa6uq93UU7io3hKK8klskl2S8kaaNCnRi401jLbfm3u33bM51JTeZMVLqvUto21So3GDbin+nPXHknjoI0KcakqsViUsZffG2fTIdSTiot6I8TcYAAAAAAAAAAAAAAAAAAAAAAAAAAAAAAAA3uicLXet0HUsLug2vmi5NSj7rk/K2ILiXiChw6fLXpzw9mkmn6Pm+Hhndb2E68cwkvn/BMtZ4LrXXD1tZWcoKpR+ZttJ8yzPfG/jxjbpkpnDvFVOjxC4r1k+SpjGMNrl0jpnH9O+u5L1+GudCEI7x/Xf5IDrWk1NHuf3a4uqUp9405N8vvmKSfp1L/w7iMb6n9WnCUY9HJJZ9NW/fbsQVxbuhLlck35GuJE5wAXVKc6cuWpFp4T38msp/VPJjGcZLMXndfh4f4aweuLW5aZHhdTip1FGVRRT7vOF9k39kYzk4xbSz5LGv5aXyj2Ky8N4Jzw1wReU9To39e4ozpKSnmE2843jjw4fix38yi8Z8WUHbVbaEJxqNOP3JLGdHnVvbJN2nC5qpGo2mt9CvE3BF5V1StqFvXowpSfPmc3HGd5Z8OF4s9zzgviy3jbUrapCcqiXL9qTzjbGudsC74ZOVSVSLSW+vyQarBU6jhGopYfVZw/bKT+6L1Tk5RUmsZ6PGV64bXyyEksPCeSwzPAAAAAAAAAAAAAAAAAAAAAAAAAAAAAAAAAAAbvgyDfEVOq6/JGGZzlzYxGO7y/JvEX7kJ4hl/0+pBQ5pS+2KxnLe2F3Wr8sHbw9fz084S1ft+8E/hxfpOsVKmmULmVNyi406r8Kbawmn1i89M4/wCj5+/DF7Yxp3c4Kai05RWuEn1Wz03xnHpqTi4jRrOVOLxnZ7HJ6sJ06jhVWJJtNPz7/k+swlGUVKOz2/Qq8k02nuWmR4SbTOCdQ1OjG4trmjKnJrMozeV57cuzXkytXvim0s5ypVYyU10a37a52fdElR4ZUqpSi00SXjHg261O/hcaVyJKmoSUnj5do9v5dvois+HvFNC1oSp3beeZtYWf6tX175fuSN9w2VWalTxtj8HPL+0djdO3lXhNrq4PKz5Zxv8AQ+h2twrimqii4p91h/jp7kBVp/Tly5T9DHOg1k74J1S24f0GpfahXlipPFOknly5Vu0u2W8N/wC1FE8S8OrcUvqdvbwX2rMpds7Jvd4Syl5k5w+vG3oOdR7vRehXjTVbbiHh6F7p9eX+nPFSk3hrm6NrviSwn/uZ54b4bW4XfzoXEV90ftl3xuk91lPLXl7i/rxuaCnTez1XqQMvhBgAAAAAAAAAAAAAAAAAAAAAAAAAAAAAAAAAAAFctLCYwMlACrbby2EsaIFACXfs7rwsLutqF3dclGEMS32lKT8Kx+p4Tx3Kj4uoyuaNO2ow5qkpaeSX9Tz0WWs9CW4VJU5SqSeIpfv9Tf6vxFacScN16Om15QqRXNyPZyjF5ljD3TjnK+5AcO4HX4TxGjO5ipQk8ZWqjJ7b7Pmwk/xqd1a7hdUJqm8NfK/+HMj6aVsABtvqwMlU2ujGBkoAAAAAAAAAAAAAAAAAAAAAAAAAAAAAAAAAAAAAAAAAAAV5ny8udvI8ws5GXjAjJxlzReGGk1hhNrYoegAAAAAAAAAAAAAAAAAAAAAAAAAAAAAAAAAAAAAAAAAAAAAAAAAAAAAAAAAAAAAAAAAAAAAAAAAAAAAAAAAAAAAAAAAAAAAAAAAAAAAAAAAAAAAAAAAAAAAAAAAAAAAAAAA//9k="/>
          <p:cNvSpPr>
            <a:spLocks noChangeAspect="1" noChangeArrowheads="1"/>
          </p:cNvSpPr>
          <p:nvPr/>
        </p:nvSpPr>
        <p:spPr bwMode="auto">
          <a:xfrm>
            <a:off x="217805" y="-163722"/>
            <a:ext cx="426720" cy="3454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17539" tIns="58769" rIns="117539" bIns="58769"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400" b="1" i="0" u="none" strike="noStrike" kern="1200" cap="none" spc="0" normalizeH="0" baseline="0" noProof="0" dirty="0">
              <a:ln>
                <a:noFill/>
              </a:ln>
              <a:solidFill>
                <a:srgbClr val="002776"/>
              </a:solidFill>
              <a:effectLst/>
              <a:uLnTx/>
              <a:uFillTx/>
              <a:latin typeface="Arial" pitchFamily="34" charset="0"/>
              <a:ea typeface="+mn-ea"/>
              <a:cs typeface="Arial" pitchFamily="34" charset="0"/>
            </a:endParaRPr>
          </a:p>
        </p:txBody>
      </p:sp>
      <p:sp>
        <p:nvSpPr>
          <p:cNvPr id="6" name="AutoShape 8" descr="data:image/jpeg;base64,/9j/4AAQSkZJRgABAQAAAQABAAD/2wCEAAkGBwgHBhUIBwgVFhUWFyAZGRgYFyUfIBwiICEmIhwgKR8kHDQsHCMlHCEnITErJSksOjEuHR8zOj8xNzEwLiwBCgoKDg0OGxAQGjcmICUsLDQ3Njc4LCw3LDcsNDA1LDIuLi8wNC0vNzAvLC0sNjY3NywyLC80NCwuLy43NywsLP/AABEIALcBEwMBEQACEQEDEQH/xAAbAAEAAQUBAAAAAAAAAAAAAAAABgECBAUHA//EADUQAAIBAwIEBAUBBwUAAAAAAAABAgMEEQUhBhIxQSJRYXETMoGRoUIHFBVSgqKxI2JywfH/xAAbAQEAAgMBAQAAAAAAAAAAAAAABQYCAwQBB//EADYRAAIBAwIEBQMCBQMFAAAAAAABAgMEESExBRJBUQZhcYGhEyKRwfAUIzKx0UKS4SVicoLx/9oADAMBAAIRAxEAPwDm5cCEAAAAAAAAAAAAAAAAAAAAAAAAAAAAAAAAAAAAAAAAAAAAAAAAAAAAAAAAAAAAAAAAAAAAAAAAAAAAAAAAAAAAAAAAAAAAAAAAAAAAAAAAAAAAAAAAAAAAAAAAAAAAAAAAAMrUbCvp1wqF1HDcIz+kkn+Onumc1pd07qDnTeicl/tbX6Z9DbVoypS5Zdk/yYp0moAAAAAAAAAAAAAAAAAAAAAAAAAAAAAAAAAAAAAAAAAAAGTcWNa3s6V3UXhq83L/AEvD/JzUrqnUrVKMX90MZ/8AZZRtlSlGEZvZ5+DGOk1AAmnC/D/D2t4cL2qqkcOVKTjvjrh8vij7fgpnG+NcU4dnNKLg9prOnbKzo/h9GyZs7S2r4xJ57Ep4x4f0nUMajql46ShHlcljdZylut3lvCXmVTw7xq+ts2ttT+o5PONdO/ttnJJX1pRqfzKksYOVX6s1dNac5uC6OeMv1wlt7H1a2+u6adxjm/7c4X53+CsVfp838vbzMc6DWeltRnc3EaFJbzkor3bwvya61WNKnKpLaKbfotWZQg5yUV1K3VCdrdTt6vzQk4v3TwzyjVjWpxqQ2kk16PUTg4ScX0PI2mIAAAAAAAAAAAAAAAAAAAAAAAAAAAAAAAAAAABJOGNH0TWWre4v6lOt2i8Yl/xeOvo/yVzjXEuIWCdWnRU6ffXK9V28/wA4JGzt7ev9spNS/v6E/wBW4Wsb3Q6Wn1a7hGgtp7Zwlh5ztv1fsfPuH+IrmhfVbiMOZ1f9OvfTGNdNkTtexpzoxpt4Uepy7W6OlW1z8HSbmdRLrOSST9tt16/+n1Ph1W8q0+e6goN7JZbXr09vz2K1cxowly0m35/4NaSJzEi4Q1Wz0KdXUbmPNPl5KcF3b3k2/wBKWEs+rK9x/h1fiMadrTfLDOZS7Y2SXVvLftq9iQsK8LfmqS1eyRsq/F8Ne0atpusUowlJc1OcflynmMX5dMZ9d8dSMo+GXw28pXVnJuK0knvh6NrbPfHlpnY6ZcRVxSlTqrD6MhZdCGL6Xw/ir4yfLnfHXHpkxnzcr5N/PY9jjP3bHRuD+G9ErXENW07UJ1OR55JJJp4eMrth7r2PnHiHjvEadOdncUVHmWOZNtNZ1w/Pbus6pFhsbO3clVpyzjoV4w4b0WncT1bUdQnT538kUm28JbLq2+v1PPDvHeITpws7eip8vVtrCz1flt3fTIvrKgpOrUljJzit8P4r+Any525uuPXB9Hhzcq59+uNvYr8uXP27FhmYgAAAAAAAAAAAAAAAAAAAAAAAAAAAAAAAAAA2vC9aztdZjeajPEKWZ4xlya+VJefM0/oyK41SuK1nKjbr7p/b2ST/AKm/LGUdVnKEKqnU2Wv+CV0eP6N9cVLTVrNRoVE4px3lFNYef5vpjHqVSp4NnbQhWtKmasGnropNa6dvfOeuCUjxaNSThUWIv96kBqw+HVdPnTw2sro8d16F+hLmipYxn4IKSw2i0yPAAAAAACV8N8QW3DeiTnRgp3FWWy7RjHaPM/fLwu2OhVOMcFq8WvIRm+WjBe8m98eySy+uyepKWl3C1otrWT+PUrxFxDbcSaHF3EFC4pSzjtOL2lyvtvh4fl3POEcEq8JvZKm+ajUXvFrVZ9srK90j26vIXVFZ0kvn0ImWwigAAAAAAAAAAAAAAAAAAAAAAAAAAAAAAAADZ22j1a+gVdWj0pzjH3z832bj92RlbiUKd/Ts3vOMn+NvylL8HTC2cqEqvZr/AJ/Q1hJnMAAAAAAAAAAAAAAAADZ8P6PV1q8lb0esacp/VLwr6yaX3IzivEoWFKNSfWUY/l6v2jlnTa2zrycV0Tf+Pk1hJnMAAAAAAAAAAAAAAAAAAAAAAAAAAAADaaFeaZbXHLrGnKrTfVqUlKPtiSTXo/uRfE7a8rU82dbkmvJNP1ym16r8HTbVKUZYqxyvfJ1+z0nTI6R+421tijNZcd9+b3eU/wDB8eueJXrvPr1J/wA2DxnTTHpp+jLXTt6SpckV9r9evycs4puNFjcSs9F0xQ5XiVSTlltPdKLlsvff2PqvBKHEXTVa9r82VlRSjhZ7tLV+mnqVq9nQUnClDGOupHywHAAAAAAAAAAAAAADIsLijbXKqXNpGrHvCTaz9U8p/f2Oe6o1KtNxp1HCXRpJ49msNfj1RspTjGWZRyjrvCFvorsf4jolm6aqbPLefC+m7ffyPkHiGvxFV/4W9qc3LqsYxr10S6d9i1WMKHJ9SlHGfUifGy4f0iu7W00hOtLxOUpT5Y5745vE/RbL8Fu8NPit9TVetcYpLRJKOXju8aL5fluRfEFbUXyxh93vj+5Bi8kKAAAAAAAAAAAAAAAAAAAAAAAAAAAe1nKjG6jK6i3BSTkl1aT3X1Wxqrqo6UlTeJYePJ9H7GdNxU05bEiueOtZq6mrujUUIrZUuscev8z9dvTBXKPhHh8LZ0Jrmk95f6s+Xb01z1yd8+K13U51ou3T3NNrl5R1HVJ3tClyfE8Tj5Sa8W/dOWX26k1w21na20aE5c3Lon3S/p06YWF7HJc1I1KjnFYz+2YB3GgAAAAAAAAAAAAAAAkdfiy8o6fS07SJulTpJeJfNOXWTfknLLx989Cu0/DtvUuKl1drnnNvR7RWyS7tLCz+MEhLiE4wjTpaJfJi8Q65/Ho069xRUa0E4Sa6SXWL9Gnnb1+h08J4SuGupTpyzTk8pPeL2a81tjr37mu6uv4hRlJfctPU0xMnGAAAAAAAAAAAAAAAAAAAAAAAAAAAAAAAAAAAAAAAAAAAAAAAAAAAAAAAAAAAAAAAAAAAAAAAAAAAAAAMpdWAb+10F1uDqusY3jUWP+C2l/dL+wga3F1T4vTsejg8/wDk9V8Rf+474WmbWVXrn4/b+CP5XmT2DgKgAAAAAAAAAAAAAAAAAAG94N0WOu6pKhUfhjTk2/Jtcsf7nn+kgvEPFXw21VVbuUV7ZzL4TXud1ha/XqOL2w/+DR1IypVHTqrEk8NeTXVfcnIyU4qUdU9TjlFxeGUPTEAAAAAAAAAAAAAAAAAAAAAAAA2/D2v3eiV80YKcG/FTktn7eT9V+SJ4rwijxCniTcZLaS0a9e68vw0ddrdzoS0WV2O1QUORQcEsr5f8/k+JTcudzUm8PfX2/sW9YxjByDi7X7vUr2dnKkqdOE3Hkj3cXjLfff6f5PsXAeEULWjGspOcpJPmfZr/AErp/d/BVb67nUm4Ywk9v8kdLCR4AAAAAAAAAAAAAAAAMiwvbjT7pXNpUxJfVP0afVGi5tqVzTdKqsp+34e6NlKrKnLmjudj4V1J6rosb+tbRpuTaeOjw8ZXll9j4zx6x/g72VvCbmks67rKzh+i1zoW2yrfVpKo1jJGv2h69dafcLTrOhGHPDmdTHieW00tvD03fX2LP4R4TRuaX8VVm5crxy64WMb999Ft69I7il1Ok/pxWMrc5yfRivgAAAAAAAAAAAAAAAAAAAAAAAHvZXH7peQuVTUnCSkk+ja3WfTJpuKP1qUqWccyayt9d8eZnTnyTUsbGRW1rUq2p/xKd5L4q6STxj0S6JenQ5qfC7Snbfwsaa+n27+b6589zbK6qyqfUctTy1S+nqV9K8rQSlLHNjo3jDeO2cZ98m2ytI2lGNGDbjHbPRZ0Xtt6GFaq6s3NrVmKdRqAAAAAAAAAAAAAAAAAANhqGsXd9a07OU+WlTilGC6bfqfnJvfL89sEfa8NoW9WddLM5ttye+vRdktsfnJ0VbmdSKhsl0Goaxd6laU6F9PndPKjN/Nh42b/AFdNm9+vU9tOG0LSrOpQXKp4yumV1S6Zzr0226qtzOrBRnrjqa87znAAAAAAAAAAAAAAAAAAAAAAAAAAAAAAAAAAAAAAAAAAAAAAAAAAAAAAAAAAAAAAAAAAAAAAAAAAAAAAMuz02/voOdlZ1KiWz5It4+3Q5bi+trZpVqijnu0s/k2woVKizCLZKrDhS5nwbXqVrSSrOalCLi+bEPTrlqUvfYql14joR4xRhConS5Wm8rGZee2nLH01JSlYSdpNuP3Z/t+2Re60jUrSj8a7sKkIrvKDS+7RaKHErOvPkpVYyfZNN/BGTt6sFmUWkYR2mkAAAAAAAAAAAAAHtaWlze1fhWlCU5YziKy/sjTXuKVCHPVkoru3hfkzhTlN4issl3BXC1zXv6j1WynCCpSiueLWXNcu2VviOfwVHxH4ho0qEP4WopS54t4aekXnXHdpfJK8PsZSnL6kWlh/JHqvD2s0W1PTKuI5y+R4275x09Sw0+NcPqY5a8cvGnMs69MZ3OCVnXTf2P8ADNYSZzAAAAAAAAAAAAAAAAAAAAAAAAAAAGXpd7e2F9GtptVxqZwsd89mu6b7M5L21t7mi6dxFOPn080+mO5uoValOadN6na/4pZ0LuGn3d3BVpRzy5xl9/bL6JvL9T4k+HXFSlO5o026Sb18v1x1a0XXBcPrwjJU5SXMzkvGN7qFzrtSjqVXPw5uMYraKXbC9Vh56n13w/a2lGxpzto454pt7tvrl+Tyuy6Iq1/VqyrONR7M0ZNnEAAAAAAAAAAAAAC6nUnSqKpSm008pp4afmn2MZwjOLjJZT6PXJ7GTi8o6/oWufA4bo3nEN5GMqnRvZtZxF4Xpu30Se58e4rwj6vEqtDh1NtR3S1SeNcZ89Et29i2W9zy0Izryw2Rf9p19f8A77C0Vf8A0JQU4qPSTzvl/qxs123XuWrwVZ230JVuX+bGTTzuvRdOz67+hG8Xq1OZRz9rRBi8kIAAAAAAAAAAAAAAAAAAAAAAAAAAAelvWqW1eNejLEovKeOjXR/RmurSjVg6c1lNYfmnuZQm4SUlui2pUnVqOpVm228tt5bfnnuZQhGEVGKwl07Hjk5PLPS6uq95V+Lc1HKWEuZ9XhYWX3eNsvyNdGhToR5Kawst46a6vHbXUynUlN5k9TxNxgXzpVIU41JQaUs4fnjZ/kwU4uTinqt/LJk4tJN9SwzMQAAAAAAAVhGU5qEFlt4SPJNRWXsepNvCK1ISp1HTnHDTw15NdRGSklJbMNNPDLT08Pa6uq93UU7io3hKK8klskl2S8kaaNCnRi401jLbfm3u33bM51JTeZMVLqvUto21So3GDbin+nPXHknjoI0KcakqsViUsZffG2fTIdSTiot6I8TcYAAAAAAAAAAAAAAAAAAAAAAAAAAAAAAAA3uicLXet0HUsLug2vmi5NSj7rk/K2ILiXiChw6fLXpzw9mkmn6Pm+Hhndb2E68cwkvn/BMtZ4LrXXD1tZWcoKpR+ZttJ8yzPfG/jxjbpkpnDvFVOjxC4r1k+SpjGMNrl0jpnH9O+u5L1+GudCEI7x/Xf5IDrWk1NHuf3a4uqUp9405N8vvmKSfp1L/w7iMb6n9WnCUY9HJJZ9NW/fbsQVxbuhLlck35GuJE5wAXVKc6cuWpFp4T38msp/VPJjGcZLMXndfh4f4aweuLW5aZHhdTip1FGVRRT7vOF9k39kYzk4xbSz5LGv5aXyj2Ky8N4Jzw1wReU9To39e4ozpKSnmE2843jjw4fix38yi8Z8WUHbVbaEJxqNOP3JLGdHnVvbJN2nC5qpGo2mt9CvE3BF5V1StqFvXowpSfPmc3HGd5Z8OF4s9zzgviy3jbUrapCcqiXL9qTzjbGudsC74ZOVSVSLSW+vyQarBU6jhGopYfVZw/bKT+6L1Tk5RUmsZ6PGV64bXyyEksPCeSwzPAAAAAAAAAAAAAAAAAAAAAAAAAAAAAAAAAAAbvgyDfEVOq6/JGGZzlzYxGO7y/JvEX7kJ4hl/0+pBQ5pS+2KxnLe2F3Wr8sHbw9fz084S1ft+8E/hxfpOsVKmmULmVNyi406r8Kbawmn1i89M4/wCj5+/DF7Yxp3c4Kai05RWuEn1Wz03xnHpqTi4jRrOVOLxnZ7HJ6sJ06jhVWJJtNPz7/k+swlGUVKOz2/Qq8k02nuWmR4SbTOCdQ1OjG4trmjKnJrMozeV57cuzXkytXvim0s5ypVYyU10a37a52fdElR4ZUqpSi00SXjHg261O/hcaVyJKmoSUnj5do9v5dvois+HvFNC1oSp3beeZtYWf6tX175fuSN9w2VWalTxtj8HPL+0djdO3lXhNrq4PKz5Zxv8AQ+h2twrimqii4p91h/jp7kBVp/Tly5T9DHOg1k74J1S24f0GpfahXlipPFOknly5Vu0u2W8N/wC1FE8S8OrcUvqdvbwX2rMpds7Jvd4Syl5k5w+vG3oOdR7vRehXjTVbbiHh6F7p9eX+nPFSk3hrm6NrviSwn/uZ54b4bW4XfzoXEV90ftl3xuk91lPLXl7i/rxuaCnTez1XqQMvhBgAAAAAAAAAAAAAAAAAAAAAAAAAAAAAAAAAAAFctLCYwMlACrbby2EsaIFACXfs7rwsLutqF3dclGEMS32lKT8Kx+p4Tx3Kj4uoyuaNO2ow5qkpaeSX9Tz0WWs9CW4VJU5SqSeIpfv9Tf6vxFacScN16Om15QqRXNyPZyjF5ljD3TjnK+5AcO4HX4TxGjO5ipQk8ZWqjJ7b7Pmwk/xqd1a7hdUJqm8NfK/+HMj6aVsABtvqwMlU2ujGBkoAAAAAAAAAAAAAAAAAAAAAAAAAAAAAAAAAAAAAAAAAAAV5ny8udvI8ws5GXjAjJxlzReGGk1hhNrYoegAAAAAAAAAAAAAAAAAAAAAAAAAAAAAAAAAAAAAAAAAAAAAAAAAAAAAAAAAAAAAAAAAAAAAAAAAAAAAAAAAAAAAAAAAAAAAAAAAAAAAAAAAAAAAAAAAAAAAAAAAAAAAAAAA//9k="/>
          <p:cNvSpPr>
            <a:spLocks noChangeAspect="1" noChangeArrowheads="1"/>
          </p:cNvSpPr>
          <p:nvPr/>
        </p:nvSpPr>
        <p:spPr bwMode="auto">
          <a:xfrm>
            <a:off x="431165" y="8998"/>
            <a:ext cx="426720" cy="3454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17539" tIns="58769" rIns="117539" bIns="58769"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400" b="1" i="0" u="none" strike="noStrike" kern="1200" cap="none" spc="0" normalizeH="0" baseline="0" noProof="0" dirty="0">
              <a:ln>
                <a:noFill/>
              </a:ln>
              <a:solidFill>
                <a:srgbClr val="002776"/>
              </a:solidFill>
              <a:effectLst/>
              <a:uLnTx/>
              <a:uFillTx/>
              <a:latin typeface="Arial" pitchFamily="34" charset="0"/>
              <a:ea typeface="+mn-ea"/>
              <a:cs typeface="Arial" pitchFamily="34" charset="0"/>
            </a:endParaRPr>
          </a:p>
        </p:txBody>
      </p:sp>
      <p:sp>
        <p:nvSpPr>
          <p:cNvPr id="14" name="TextBox 13"/>
          <p:cNvSpPr txBox="1"/>
          <p:nvPr/>
        </p:nvSpPr>
        <p:spPr>
          <a:xfrm>
            <a:off x="7959477" y="7377193"/>
            <a:ext cx="4594789" cy="253916"/>
          </a:xfrm>
          <a:prstGeom prst="rect">
            <a:avLst/>
          </a:prstGeom>
          <a:noFill/>
        </p:spPr>
        <p:txBody>
          <a:bodyPr wrap="square" rtlCol="0">
            <a:spAutoFit/>
          </a:bodyP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en-US" sz="1050" b="0" i="0" u="none" strike="noStrike" kern="1200" cap="none" spc="0" normalizeH="0" baseline="0" noProof="0" dirty="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Sources: Deloitte Thought Leadership Materials</a:t>
            </a:r>
          </a:p>
        </p:txBody>
      </p:sp>
      <p:sp>
        <p:nvSpPr>
          <p:cNvPr id="4" name="Title 3"/>
          <p:cNvSpPr>
            <a:spLocks noGrp="1"/>
          </p:cNvSpPr>
          <p:nvPr>
            <p:ph type="title"/>
          </p:nvPr>
        </p:nvSpPr>
        <p:spPr>
          <a:xfrm>
            <a:off x="554508" y="399121"/>
            <a:ext cx="11662258" cy="423193"/>
          </a:xfrm>
        </p:spPr>
        <p:txBody>
          <a:bodyPr/>
          <a:lstStyle/>
          <a:p>
            <a:r>
              <a:rPr lang="en-US" sz="24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Transforming Cyber Defenses – CAE’s Role</a:t>
            </a:r>
            <a:endPar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48" name="object 2716"/>
          <p:cNvSpPr/>
          <p:nvPr/>
        </p:nvSpPr>
        <p:spPr>
          <a:xfrm>
            <a:off x="3985359" y="2355308"/>
            <a:ext cx="1842972" cy="2331734"/>
          </a:xfrm>
          <a:custGeom>
            <a:avLst/>
            <a:gdLst/>
            <a:ahLst/>
            <a:cxnLst/>
            <a:rect l="l" t="t" r="r" b="b"/>
            <a:pathLst>
              <a:path w="1234757" h="1971128">
                <a:moveTo>
                  <a:pt x="1234757" y="6451"/>
                </a:moveTo>
                <a:lnTo>
                  <a:pt x="1184444" y="2180"/>
                </a:lnTo>
                <a:lnTo>
                  <a:pt x="1146309" y="454"/>
                </a:lnTo>
                <a:lnTo>
                  <a:pt x="1114145" y="0"/>
                </a:lnTo>
                <a:lnTo>
                  <a:pt x="1022768" y="3693"/>
                </a:lnTo>
                <a:lnTo>
                  <a:pt x="933424" y="14582"/>
                </a:lnTo>
                <a:lnTo>
                  <a:pt x="846402" y="32379"/>
                </a:lnTo>
                <a:lnTo>
                  <a:pt x="761988" y="56799"/>
                </a:lnTo>
                <a:lnTo>
                  <a:pt x="680468" y="87554"/>
                </a:lnTo>
                <a:lnTo>
                  <a:pt x="602130" y="124358"/>
                </a:lnTo>
                <a:lnTo>
                  <a:pt x="527260" y="166924"/>
                </a:lnTo>
                <a:lnTo>
                  <a:pt x="456144" y="214964"/>
                </a:lnTo>
                <a:lnTo>
                  <a:pt x="389070" y="268194"/>
                </a:lnTo>
                <a:lnTo>
                  <a:pt x="326324" y="326324"/>
                </a:lnTo>
                <a:lnTo>
                  <a:pt x="268194" y="389070"/>
                </a:lnTo>
                <a:lnTo>
                  <a:pt x="214964" y="456144"/>
                </a:lnTo>
                <a:lnTo>
                  <a:pt x="166924" y="527260"/>
                </a:lnTo>
                <a:lnTo>
                  <a:pt x="124358" y="602130"/>
                </a:lnTo>
                <a:lnTo>
                  <a:pt x="87554" y="680468"/>
                </a:lnTo>
                <a:lnTo>
                  <a:pt x="56799" y="761988"/>
                </a:lnTo>
                <a:lnTo>
                  <a:pt x="32379" y="846402"/>
                </a:lnTo>
                <a:lnTo>
                  <a:pt x="14582" y="933424"/>
                </a:lnTo>
                <a:lnTo>
                  <a:pt x="3693" y="1022768"/>
                </a:lnTo>
                <a:lnTo>
                  <a:pt x="0" y="1114145"/>
                </a:lnTo>
                <a:lnTo>
                  <a:pt x="1164" y="1165549"/>
                </a:lnTo>
                <a:lnTo>
                  <a:pt x="4625" y="1216355"/>
                </a:lnTo>
                <a:lnTo>
                  <a:pt x="10332" y="1266512"/>
                </a:lnTo>
                <a:lnTo>
                  <a:pt x="18234" y="1315969"/>
                </a:lnTo>
                <a:lnTo>
                  <a:pt x="28280" y="1364678"/>
                </a:lnTo>
                <a:lnTo>
                  <a:pt x="40422" y="1412586"/>
                </a:lnTo>
                <a:lnTo>
                  <a:pt x="54608" y="1459644"/>
                </a:lnTo>
                <a:lnTo>
                  <a:pt x="70787" y="1505802"/>
                </a:lnTo>
                <a:lnTo>
                  <a:pt x="88911" y="1551009"/>
                </a:lnTo>
                <a:lnTo>
                  <a:pt x="108927" y="1595215"/>
                </a:lnTo>
                <a:lnTo>
                  <a:pt x="130787" y="1638369"/>
                </a:lnTo>
                <a:lnTo>
                  <a:pt x="154439" y="1680421"/>
                </a:lnTo>
                <a:lnTo>
                  <a:pt x="179833" y="1721321"/>
                </a:lnTo>
                <a:lnTo>
                  <a:pt x="206919" y="1761018"/>
                </a:lnTo>
                <a:lnTo>
                  <a:pt x="235647" y="1799463"/>
                </a:lnTo>
                <a:lnTo>
                  <a:pt x="265966" y="1836604"/>
                </a:lnTo>
                <a:lnTo>
                  <a:pt x="297825" y="1872391"/>
                </a:lnTo>
                <a:lnTo>
                  <a:pt x="331175" y="1906775"/>
                </a:lnTo>
                <a:lnTo>
                  <a:pt x="365965" y="1939704"/>
                </a:lnTo>
                <a:lnTo>
                  <a:pt x="402145" y="1971128"/>
                </a:lnTo>
              </a:path>
            </a:pathLst>
          </a:custGeom>
          <a:ln w="200913">
            <a:solidFill>
              <a:srgbClr val="2BA834"/>
            </a:solidFill>
          </a:ln>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50" name="object 2717"/>
          <p:cNvSpPr/>
          <p:nvPr/>
        </p:nvSpPr>
        <p:spPr>
          <a:xfrm>
            <a:off x="4018648" y="4531708"/>
            <a:ext cx="742306" cy="643405"/>
          </a:xfrm>
          <a:custGeom>
            <a:avLst/>
            <a:gdLst/>
            <a:ahLst/>
            <a:cxnLst/>
            <a:rect l="l" t="t" r="r" b="b"/>
            <a:pathLst>
              <a:path w="497331" h="543902">
                <a:moveTo>
                  <a:pt x="497331" y="0"/>
                </a:moveTo>
                <a:lnTo>
                  <a:pt x="0" y="543902"/>
                </a:lnTo>
              </a:path>
            </a:pathLst>
          </a:custGeom>
          <a:ln w="25400">
            <a:solidFill>
              <a:srgbClr val="2BA834"/>
            </a:solidFill>
          </a:ln>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51" name="object 2718"/>
          <p:cNvSpPr/>
          <p:nvPr/>
        </p:nvSpPr>
        <p:spPr>
          <a:xfrm>
            <a:off x="4141201" y="2491388"/>
            <a:ext cx="1507113" cy="2376353"/>
          </a:xfrm>
          <a:custGeom>
            <a:avLst/>
            <a:gdLst/>
            <a:ahLst/>
            <a:cxnLst/>
            <a:rect l="l" t="t" r="r" b="b"/>
            <a:pathLst>
              <a:path w="1009738" h="2008847">
                <a:moveTo>
                  <a:pt x="862660" y="0"/>
                </a:moveTo>
                <a:lnTo>
                  <a:pt x="790348" y="13266"/>
                </a:lnTo>
                <a:lnTo>
                  <a:pt x="719931" y="31570"/>
                </a:lnTo>
                <a:lnTo>
                  <a:pt x="651605" y="54717"/>
                </a:lnTo>
                <a:lnTo>
                  <a:pt x="585567" y="82511"/>
                </a:lnTo>
                <a:lnTo>
                  <a:pt x="522011" y="114755"/>
                </a:lnTo>
                <a:lnTo>
                  <a:pt x="461135" y="151253"/>
                </a:lnTo>
                <a:lnTo>
                  <a:pt x="403134" y="191810"/>
                </a:lnTo>
                <a:lnTo>
                  <a:pt x="348205" y="236228"/>
                </a:lnTo>
                <a:lnTo>
                  <a:pt x="296543" y="284313"/>
                </a:lnTo>
                <a:lnTo>
                  <a:pt x="248345" y="335867"/>
                </a:lnTo>
                <a:lnTo>
                  <a:pt x="203806" y="390695"/>
                </a:lnTo>
                <a:lnTo>
                  <a:pt x="163124" y="448600"/>
                </a:lnTo>
                <a:lnTo>
                  <a:pt x="126493" y="509388"/>
                </a:lnTo>
                <a:lnTo>
                  <a:pt x="94110" y="572860"/>
                </a:lnTo>
                <a:lnTo>
                  <a:pt x="66171" y="638822"/>
                </a:lnTo>
                <a:lnTo>
                  <a:pt x="42872" y="707077"/>
                </a:lnTo>
                <a:lnTo>
                  <a:pt x="24409" y="777430"/>
                </a:lnTo>
                <a:lnTo>
                  <a:pt x="10979" y="849683"/>
                </a:lnTo>
                <a:lnTo>
                  <a:pt x="2777" y="923641"/>
                </a:lnTo>
                <a:lnTo>
                  <a:pt x="0" y="999109"/>
                </a:lnTo>
                <a:lnTo>
                  <a:pt x="3347" y="1081922"/>
                </a:lnTo>
                <a:lnTo>
                  <a:pt x="13215" y="1162892"/>
                </a:lnTo>
                <a:lnTo>
                  <a:pt x="29345" y="1241758"/>
                </a:lnTo>
                <a:lnTo>
                  <a:pt x="51476" y="1318262"/>
                </a:lnTo>
                <a:lnTo>
                  <a:pt x="79349" y="1392142"/>
                </a:lnTo>
                <a:lnTo>
                  <a:pt x="112704" y="1463139"/>
                </a:lnTo>
                <a:lnTo>
                  <a:pt x="151280" y="1530993"/>
                </a:lnTo>
                <a:lnTo>
                  <a:pt x="194819" y="1595444"/>
                </a:lnTo>
                <a:lnTo>
                  <a:pt x="243060" y="1656233"/>
                </a:lnTo>
                <a:lnTo>
                  <a:pt x="295743" y="1713099"/>
                </a:lnTo>
                <a:lnTo>
                  <a:pt x="352609" y="1765783"/>
                </a:lnTo>
                <a:lnTo>
                  <a:pt x="413397" y="1814025"/>
                </a:lnTo>
                <a:lnTo>
                  <a:pt x="477848" y="1857564"/>
                </a:lnTo>
                <a:lnTo>
                  <a:pt x="545702" y="1896141"/>
                </a:lnTo>
                <a:lnTo>
                  <a:pt x="616700" y="1929496"/>
                </a:lnTo>
                <a:lnTo>
                  <a:pt x="690580" y="1957370"/>
                </a:lnTo>
                <a:lnTo>
                  <a:pt x="767084" y="1979501"/>
                </a:lnTo>
                <a:lnTo>
                  <a:pt x="845952" y="1995631"/>
                </a:lnTo>
                <a:lnTo>
                  <a:pt x="926923" y="2005500"/>
                </a:lnTo>
                <a:lnTo>
                  <a:pt x="1009738" y="2008847"/>
                </a:lnTo>
              </a:path>
            </a:pathLst>
          </a:custGeom>
          <a:ln w="182092">
            <a:solidFill>
              <a:srgbClr val="00682D"/>
            </a:solidFill>
          </a:ln>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52" name="object 2719"/>
          <p:cNvSpPr/>
          <p:nvPr/>
        </p:nvSpPr>
        <p:spPr>
          <a:xfrm>
            <a:off x="3383461" y="5085180"/>
            <a:ext cx="708148" cy="561243"/>
          </a:xfrm>
          <a:custGeom>
            <a:avLst/>
            <a:gdLst/>
            <a:ahLst/>
            <a:cxnLst/>
            <a:rect l="l" t="t" r="r" b="b"/>
            <a:pathLst>
              <a:path w="474446" h="474446">
                <a:moveTo>
                  <a:pt x="237223" y="474446"/>
                </a:moveTo>
                <a:lnTo>
                  <a:pt x="256679" y="473660"/>
                </a:lnTo>
                <a:lnTo>
                  <a:pt x="275701" y="471341"/>
                </a:lnTo>
                <a:lnTo>
                  <a:pt x="294230" y="467552"/>
                </a:lnTo>
                <a:lnTo>
                  <a:pt x="312203" y="462352"/>
                </a:lnTo>
                <a:lnTo>
                  <a:pt x="329560" y="455804"/>
                </a:lnTo>
                <a:lnTo>
                  <a:pt x="346240" y="447967"/>
                </a:lnTo>
                <a:lnTo>
                  <a:pt x="362181" y="438904"/>
                </a:lnTo>
                <a:lnTo>
                  <a:pt x="377323" y="428675"/>
                </a:lnTo>
                <a:lnTo>
                  <a:pt x="391605" y="417342"/>
                </a:lnTo>
                <a:lnTo>
                  <a:pt x="404964" y="404964"/>
                </a:lnTo>
                <a:lnTo>
                  <a:pt x="417342" y="391605"/>
                </a:lnTo>
                <a:lnTo>
                  <a:pt x="428675" y="377323"/>
                </a:lnTo>
                <a:lnTo>
                  <a:pt x="438904" y="362181"/>
                </a:lnTo>
                <a:lnTo>
                  <a:pt x="447967" y="346240"/>
                </a:lnTo>
                <a:lnTo>
                  <a:pt x="455804" y="329560"/>
                </a:lnTo>
                <a:lnTo>
                  <a:pt x="462352" y="312203"/>
                </a:lnTo>
                <a:lnTo>
                  <a:pt x="467552" y="294230"/>
                </a:lnTo>
                <a:lnTo>
                  <a:pt x="471341" y="275701"/>
                </a:lnTo>
                <a:lnTo>
                  <a:pt x="473660" y="256679"/>
                </a:lnTo>
                <a:lnTo>
                  <a:pt x="474446" y="237223"/>
                </a:lnTo>
                <a:lnTo>
                  <a:pt x="473660" y="217767"/>
                </a:lnTo>
                <a:lnTo>
                  <a:pt x="471341" y="198744"/>
                </a:lnTo>
                <a:lnTo>
                  <a:pt x="467552" y="180216"/>
                </a:lnTo>
                <a:lnTo>
                  <a:pt x="462352" y="162243"/>
                </a:lnTo>
                <a:lnTo>
                  <a:pt x="455804" y="144885"/>
                </a:lnTo>
                <a:lnTo>
                  <a:pt x="447967" y="128206"/>
                </a:lnTo>
                <a:lnTo>
                  <a:pt x="438904" y="112264"/>
                </a:lnTo>
                <a:lnTo>
                  <a:pt x="428675" y="97122"/>
                </a:lnTo>
                <a:lnTo>
                  <a:pt x="417342" y="82841"/>
                </a:lnTo>
                <a:lnTo>
                  <a:pt x="404964" y="69481"/>
                </a:lnTo>
                <a:lnTo>
                  <a:pt x="391605" y="57104"/>
                </a:lnTo>
                <a:lnTo>
                  <a:pt x="377323" y="45770"/>
                </a:lnTo>
                <a:lnTo>
                  <a:pt x="362181" y="35541"/>
                </a:lnTo>
                <a:lnTo>
                  <a:pt x="346240" y="26478"/>
                </a:lnTo>
                <a:lnTo>
                  <a:pt x="329560" y="18642"/>
                </a:lnTo>
                <a:lnTo>
                  <a:pt x="312203" y="12093"/>
                </a:lnTo>
                <a:lnTo>
                  <a:pt x="294230" y="6894"/>
                </a:lnTo>
                <a:lnTo>
                  <a:pt x="275701" y="3104"/>
                </a:lnTo>
                <a:lnTo>
                  <a:pt x="256679" y="786"/>
                </a:lnTo>
                <a:lnTo>
                  <a:pt x="237223" y="0"/>
                </a:lnTo>
                <a:lnTo>
                  <a:pt x="217767" y="786"/>
                </a:lnTo>
                <a:lnTo>
                  <a:pt x="198744" y="3104"/>
                </a:lnTo>
                <a:lnTo>
                  <a:pt x="180216" y="6894"/>
                </a:lnTo>
                <a:lnTo>
                  <a:pt x="162243" y="12093"/>
                </a:lnTo>
                <a:lnTo>
                  <a:pt x="144885" y="18642"/>
                </a:lnTo>
                <a:lnTo>
                  <a:pt x="128206" y="26478"/>
                </a:lnTo>
                <a:lnTo>
                  <a:pt x="112264" y="35541"/>
                </a:lnTo>
                <a:lnTo>
                  <a:pt x="97122" y="45770"/>
                </a:lnTo>
                <a:lnTo>
                  <a:pt x="82841" y="57104"/>
                </a:lnTo>
                <a:lnTo>
                  <a:pt x="69481" y="69481"/>
                </a:lnTo>
                <a:lnTo>
                  <a:pt x="57104" y="82841"/>
                </a:lnTo>
                <a:lnTo>
                  <a:pt x="45770" y="97122"/>
                </a:lnTo>
                <a:lnTo>
                  <a:pt x="35541" y="112264"/>
                </a:lnTo>
                <a:lnTo>
                  <a:pt x="26478" y="128206"/>
                </a:lnTo>
                <a:lnTo>
                  <a:pt x="18642" y="144885"/>
                </a:lnTo>
                <a:lnTo>
                  <a:pt x="12093" y="162243"/>
                </a:lnTo>
                <a:lnTo>
                  <a:pt x="6894" y="180216"/>
                </a:lnTo>
                <a:lnTo>
                  <a:pt x="3104" y="198744"/>
                </a:lnTo>
                <a:lnTo>
                  <a:pt x="786" y="217767"/>
                </a:lnTo>
                <a:lnTo>
                  <a:pt x="0" y="237223"/>
                </a:lnTo>
                <a:lnTo>
                  <a:pt x="786" y="256679"/>
                </a:lnTo>
                <a:lnTo>
                  <a:pt x="3104" y="275701"/>
                </a:lnTo>
                <a:lnTo>
                  <a:pt x="6894" y="294230"/>
                </a:lnTo>
                <a:lnTo>
                  <a:pt x="12093" y="312203"/>
                </a:lnTo>
                <a:lnTo>
                  <a:pt x="18642" y="329560"/>
                </a:lnTo>
                <a:lnTo>
                  <a:pt x="26478" y="346240"/>
                </a:lnTo>
                <a:lnTo>
                  <a:pt x="35541" y="362181"/>
                </a:lnTo>
                <a:lnTo>
                  <a:pt x="45770" y="377323"/>
                </a:lnTo>
                <a:lnTo>
                  <a:pt x="57104" y="391605"/>
                </a:lnTo>
                <a:lnTo>
                  <a:pt x="69481" y="404964"/>
                </a:lnTo>
                <a:lnTo>
                  <a:pt x="82841" y="417342"/>
                </a:lnTo>
                <a:lnTo>
                  <a:pt x="97122" y="428675"/>
                </a:lnTo>
                <a:lnTo>
                  <a:pt x="112264" y="438904"/>
                </a:lnTo>
                <a:lnTo>
                  <a:pt x="128206" y="447967"/>
                </a:lnTo>
                <a:lnTo>
                  <a:pt x="144885" y="455804"/>
                </a:lnTo>
                <a:lnTo>
                  <a:pt x="162243" y="462352"/>
                </a:lnTo>
                <a:lnTo>
                  <a:pt x="180216" y="467552"/>
                </a:lnTo>
                <a:lnTo>
                  <a:pt x="198744" y="471341"/>
                </a:lnTo>
                <a:lnTo>
                  <a:pt x="217767" y="473660"/>
                </a:lnTo>
                <a:lnTo>
                  <a:pt x="237223" y="474446"/>
                </a:lnTo>
                <a:close/>
              </a:path>
            </a:pathLst>
          </a:custGeom>
          <a:ln w="26250">
            <a:solidFill>
              <a:srgbClr val="2BA834"/>
            </a:solidFill>
          </a:ln>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53" name="object 2720"/>
          <p:cNvSpPr/>
          <p:nvPr/>
        </p:nvSpPr>
        <p:spPr>
          <a:xfrm>
            <a:off x="5283385" y="5642913"/>
            <a:ext cx="708148" cy="561243"/>
          </a:xfrm>
          <a:custGeom>
            <a:avLst/>
            <a:gdLst/>
            <a:ahLst/>
            <a:cxnLst/>
            <a:rect l="l" t="t" r="r" b="b"/>
            <a:pathLst>
              <a:path w="474446" h="474446">
                <a:moveTo>
                  <a:pt x="237223" y="474446"/>
                </a:moveTo>
                <a:lnTo>
                  <a:pt x="256679" y="473660"/>
                </a:lnTo>
                <a:lnTo>
                  <a:pt x="275701" y="471341"/>
                </a:lnTo>
                <a:lnTo>
                  <a:pt x="294230" y="467552"/>
                </a:lnTo>
                <a:lnTo>
                  <a:pt x="312203" y="462352"/>
                </a:lnTo>
                <a:lnTo>
                  <a:pt x="329560" y="455804"/>
                </a:lnTo>
                <a:lnTo>
                  <a:pt x="346240" y="447967"/>
                </a:lnTo>
                <a:lnTo>
                  <a:pt x="362181" y="438904"/>
                </a:lnTo>
                <a:lnTo>
                  <a:pt x="377323" y="428675"/>
                </a:lnTo>
                <a:lnTo>
                  <a:pt x="391605" y="417342"/>
                </a:lnTo>
                <a:lnTo>
                  <a:pt x="404964" y="404964"/>
                </a:lnTo>
                <a:lnTo>
                  <a:pt x="417342" y="391605"/>
                </a:lnTo>
                <a:lnTo>
                  <a:pt x="428675" y="377323"/>
                </a:lnTo>
                <a:lnTo>
                  <a:pt x="438904" y="362181"/>
                </a:lnTo>
                <a:lnTo>
                  <a:pt x="447967" y="346240"/>
                </a:lnTo>
                <a:lnTo>
                  <a:pt x="455804" y="329560"/>
                </a:lnTo>
                <a:lnTo>
                  <a:pt x="462352" y="312203"/>
                </a:lnTo>
                <a:lnTo>
                  <a:pt x="467552" y="294230"/>
                </a:lnTo>
                <a:lnTo>
                  <a:pt x="471341" y="275701"/>
                </a:lnTo>
                <a:lnTo>
                  <a:pt x="473660" y="256679"/>
                </a:lnTo>
                <a:lnTo>
                  <a:pt x="474446" y="237223"/>
                </a:lnTo>
                <a:lnTo>
                  <a:pt x="473660" y="217767"/>
                </a:lnTo>
                <a:lnTo>
                  <a:pt x="471341" y="198744"/>
                </a:lnTo>
                <a:lnTo>
                  <a:pt x="467552" y="180216"/>
                </a:lnTo>
                <a:lnTo>
                  <a:pt x="462352" y="162243"/>
                </a:lnTo>
                <a:lnTo>
                  <a:pt x="455804" y="144885"/>
                </a:lnTo>
                <a:lnTo>
                  <a:pt x="447967" y="128206"/>
                </a:lnTo>
                <a:lnTo>
                  <a:pt x="438904" y="112264"/>
                </a:lnTo>
                <a:lnTo>
                  <a:pt x="428675" y="97122"/>
                </a:lnTo>
                <a:lnTo>
                  <a:pt x="417342" y="82841"/>
                </a:lnTo>
                <a:lnTo>
                  <a:pt x="404964" y="69481"/>
                </a:lnTo>
                <a:lnTo>
                  <a:pt x="391605" y="57104"/>
                </a:lnTo>
                <a:lnTo>
                  <a:pt x="377323" y="45770"/>
                </a:lnTo>
                <a:lnTo>
                  <a:pt x="362181" y="35541"/>
                </a:lnTo>
                <a:lnTo>
                  <a:pt x="346240" y="26478"/>
                </a:lnTo>
                <a:lnTo>
                  <a:pt x="329560" y="18642"/>
                </a:lnTo>
                <a:lnTo>
                  <a:pt x="312203" y="12093"/>
                </a:lnTo>
                <a:lnTo>
                  <a:pt x="294230" y="6894"/>
                </a:lnTo>
                <a:lnTo>
                  <a:pt x="275701" y="3104"/>
                </a:lnTo>
                <a:lnTo>
                  <a:pt x="256679" y="786"/>
                </a:lnTo>
                <a:lnTo>
                  <a:pt x="237223" y="0"/>
                </a:lnTo>
                <a:lnTo>
                  <a:pt x="217767" y="786"/>
                </a:lnTo>
                <a:lnTo>
                  <a:pt x="198744" y="3104"/>
                </a:lnTo>
                <a:lnTo>
                  <a:pt x="180216" y="6894"/>
                </a:lnTo>
                <a:lnTo>
                  <a:pt x="162243" y="12093"/>
                </a:lnTo>
                <a:lnTo>
                  <a:pt x="144885" y="18642"/>
                </a:lnTo>
                <a:lnTo>
                  <a:pt x="128206" y="26478"/>
                </a:lnTo>
                <a:lnTo>
                  <a:pt x="112264" y="35541"/>
                </a:lnTo>
                <a:lnTo>
                  <a:pt x="97122" y="45770"/>
                </a:lnTo>
                <a:lnTo>
                  <a:pt x="82841" y="57104"/>
                </a:lnTo>
                <a:lnTo>
                  <a:pt x="69481" y="69481"/>
                </a:lnTo>
                <a:lnTo>
                  <a:pt x="57104" y="82841"/>
                </a:lnTo>
                <a:lnTo>
                  <a:pt x="45770" y="97122"/>
                </a:lnTo>
                <a:lnTo>
                  <a:pt x="35541" y="112264"/>
                </a:lnTo>
                <a:lnTo>
                  <a:pt x="26478" y="128206"/>
                </a:lnTo>
                <a:lnTo>
                  <a:pt x="18642" y="144885"/>
                </a:lnTo>
                <a:lnTo>
                  <a:pt x="12093" y="162243"/>
                </a:lnTo>
                <a:lnTo>
                  <a:pt x="6894" y="180216"/>
                </a:lnTo>
                <a:lnTo>
                  <a:pt x="3104" y="198744"/>
                </a:lnTo>
                <a:lnTo>
                  <a:pt x="786" y="217767"/>
                </a:lnTo>
                <a:lnTo>
                  <a:pt x="0" y="237223"/>
                </a:lnTo>
                <a:lnTo>
                  <a:pt x="786" y="256679"/>
                </a:lnTo>
                <a:lnTo>
                  <a:pt x="3104" y="275701"/>
                </a:lnTo>
                <a:lnTo>
                  <a:pt x="6894" y="294230"/>
                </a:lnTo>
                <a:lnTo>
                  <a:pt x="12093" y="312203"/>
                </a:lnTo>
                <a:lnTo>
                  <a:pt x="18642" y="329560"/>
                </a:lnTo>
                <a:lnTo>
                  <a:pt x="26478" y="346240"/>
                </a:lnTo>
                <a:lnTo>
                  <a:pt x="35541" y="362181"/>
                </a:lnTo>
                <a:lnTo>
                  <a:pt x="45770" y="377323"/>
                </a:lnTo>
                <a:lnTo>
                  <a:pt x="57104" y="391605"/>
                </a:lnTo>
                <a:lnTo>
                  <a:pt x="69481" y="404964"/>
                </a:lnTo>
                <a:lnTo>
                  <a:pt x="82841" y="417342"/>
                </a:lnTo>
                <a:lnTo>
                  <a:pt x="97122" y="428675"/>
                </a:lnTo>
                <a:lnTo>
                  <a:pt x="112264" y="438904"/>
                </a:lnTo>
                <a:lnTo>
                  <a:pt x="128206" y="447967"/>
                </a:lnTo>
                <a:lnTo>
                  <a:pt x="144885" y="455804"/>
                </a:lnTo>
                <a:lnTo>
                  <a:pt x="162243" y="462352"/>
                </a:lnTo>
                <a:lnTo>
                  <a:pt x="180216" y="467552"/>
                </a:lnTo>
                <a:lnTo>
                  <a:pt x="198744" y="471341"/>
                </a:lnTo>
                <a:lnTo>
                  <a:pt x="217767" y="473660"/>
                </a:lnTo>
                <a:lnTo>
                  <a:pt x="237223" y="474446"/>
                </a:lnTo>
                <a:close/>
              </a:path>
            </a:pathLst>
          </a:custGeom>
          <a:ln w="26250">
            <a:solidFill>
              <a:srgbClr val="00682D"/>
            </a:solidFill>
          </a:ln>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54" name="object 2721"/>
          <p:cNvSpPr/>
          <p:nvPr/>
        </p:nvSpPr>
        <p:spPr>
          <a:xfrm>
            <a:off x="5634817" y="4786007"/>
            <a:ext cx="5288" cy="854079"/>
          </a:xfrm>
          <a:custGeom>
            <a:avLst/>
            <a:gdLst/>
            <a:ahLst/>
            <a:cxnLst/>
            <a:rect l="l" t="t" r="r" b="b"/>
            <a:pathLst>
              <a:path w="3543" h="721995">
                <a:moveTo>
                  <a:pt x="0" y="0"/>
                </a:moveTo>
                <a:lnTo>
                  <a:pt x="3543" y="721995"/>
                </a:lnTo>
              </a:path>
            </a:pathLst>
          </a:custGeom>
          <a:ln w="25400">
            <a:solidFill>
              <a:srgbClr val="00682D"/>
            </a:solidFill>
          </a:ln>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55" name="object 2722"/>
          <p:cNvSpPr/>
          <p:nvPr/>
        </p:nvSpPr>
        <p:spPr>
          <a:xfrm>
            <a:off x="4335596" y="2708431"/>
            <a:ext cx="2195965" cy="2005230"/>
          </a:xfrm>
          <a:custGeom>
            <a:avLst/>
            <a:gdLst/>
            <a:ahLst/>
            <a:cxnLst/>
            <a:rect l="l" t="t" r="r" b="b"/>
            <a:pathLst>
              <a:path w="1471256" h="1695119">
                <a:moveTo>
                  <a:pt x="549846" y="0"/>
                </a:moveTo>
                <a:lnTo>
                  <a:pt x="502214" y="20939"/>
                </a:lnTo>
                <a:lnTo>
                  <a:pt x="456107" y="44564"/>
                </a:lnTo>
                <a:lnTo>
                  <a:pt x="411622" y="70774"/>
                </a:lnTo>
                <a:lnTo>
                  <a:pt x="368860" y="99470"/>
                </a:lnTo>
                <a:lnTo>
                  <a:pt x="327919" y="130553"/>
                </a:lnTo>
                <a:lnTo>
                  <a:pt x="288900" y="163923"/>
                </a:lnTo>
                <a:lnTo>
                  <a:pt x="251901" y="199481"/>
                </a:lnTo>
                <a:lnTo>
                  <a:pt x="217022" y="237128"/>
                </a:lnTo>
                <a:lnTo>
                  <a:pt x="184363" y="276764"/>
                </a:lnTo>
                <a:lnTo>
                  <a:pt x="154022" y="318290"/>
                </a:lnTo>
                <a:lnTo>
                  <a:pt x="126099" y="361606"/>
                </a:lnTo>
                <a:lnTo>
                  <a:pt x="100694" y="406614"/>
                </a:lnTo>
                <a:lnTo>
                  <a:pt x="77905" y="453213"/>
                </a:lnTo>
                <a:lnTo>
                  <a:pt x="57832" y="501305"/>
                </a:lnTo>
                <a:lnTo>
                  <a:pt x="40575" y="550790"/>
                </a:lnTo>
                <a:lnTo>
                  <a:pt x="26233" y="601568"/>
                </a:lnTo>
                <a:lnTo>
                  <a:pt x="14905" y="653541"/>
                </a:lnTo>
                <a:lnTo>
                  <a:pt x="6690" y="706609"/>
                </a:lnTo>
                <a:lnTo>
                  <a:pt x="1689" y="760672"/>
                </a:lnTo>
                <a:lnTo>
                  <a:pt x="0" y="815632"/>
                </a:lnTo>
                <a:lnTo>
                  <a:pt x="2915" y="887763"/>
                </a:lnTo>
                <a:lnTo>
                  <a:pt x="11511" y="958288"/>
                </a:lnTo>
                <a:lnTo>
                  <a:pt x="25560" y="1026982"/>
                </a:lnTo>
                <a:lnTo>
                  <a:pt x="44837" y="1093616"/>
                </a:lnTo>
                <a:lnTo>
                  <a:pt x="69115" y="1157966"/>
                </a:lnTo>
                <a:lnTo>
                  <a:pt x="98167" y="1219805"/>
                </a:lnTo>
                <a:lnTo>
                  <a:pt x="131768" y="1278907"/>
                </a:lnTo>
                <a:lnTo>
                  <a:pt x="169691" y="1335044"/>
                </a:lnTo>
                <a:lnTo>
                  <a:pt x="211710" y="1387991"/>
                </a:lnTo>
                <a:lnTo>
                  <a:pt x="257598" y="1437522"/>
                </a:lnTo>
                <a:lnTo>
                  <a:pt x="307130" y="1483410"/>
                </a:lnTo>
                <a:lnTo>
                  <a:pt x="360077" y="1525428"/>
                </a:lnTo>
                <a:lnTo>
                  <a:pt x="416216" y="1563351"/>
                </a:lnTo>
                <a:lnTo>
                  <a:pt x="475318" y="1596952"/>
                </a:lnTo>
                <a:lnTo>
                  <a:pt x="537158" y="1626004"/>
                </a:lnTo>
                <a:lnTo>
                  <a:pt x="601509" y="1650282"/>
                </a:lnTo>
                <a:lnTo>
                  <a:pt x="668145" y="1669559"/>
                </a:lnTo>
                <a:lnTo>
                  <a:pt x="736840" y="1683608"/>
                </a:lnTo>
                <a:lnTo>
                  <a:pt x="807367" y="1692204"/>
                </a:lnTo>
                <a:lnTo>
                  <a:pt x="879500" y="1695119"/>
                </a:lnTo>
                <a:lnTo>
                  <a:pt x="913526" y="1694473"/>
                </a:lnTo>
                <a:lnTo>
                  <a:pt x="980573" y="1689375"/>
                </a:lnTo>
                <a:lnTo>
                  <a:pt x="1046126" y="1679356"/>
                </a:lnTo>
                <a:lnTo>
                  <a:pt x="1109998" y="1664606"/>
                </a:lnTo>
                <a:lnTo>
                  <a:pt x="1172001" y="1645309"/>
                </a:lnTo>
                <a:lnTo>
                  <a:pt x="1231948" y="1621654"/>
                </a:lnTo>
                <a:lnTo>
                  <a:pt x="1289653" y="1593827"/>
                </a:lnTo>
                <a:lnTo>
                  <a:pt x="1344928" y="1562015"/>
                </a:lnTo>
                <a:lnTo>
                  <a:pt x="1397586" y="1526405"/>
                </a:lnTo>
                <a:lnTo>
                  <a:pt x="1447439" y="1487184"/>
                </a:lnTo>
                <a:lnTo>
                  <a:pt x="1471256" y="1466278"/>
                </a:lnTo>
              </a:path>
            </a:pathLst>
          </a:custGeom>
          <a:ln w="158597">
            <a:solidFill>
              <a:srgbClr val="85BC22"/>
            </a:solidFill>
          </a:ln>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56" name="object 2723"/>
          <p:cNvSpPr/>
          <p:nvPr/>
        </p:nvSpPr>
        <p:spPr>
          <a:xfrm>
            <a:off x="5575448" y="4017990"/>
            <a:ext cx="131660" cy="461621"/>
          </a:xfrm>
          <a:custGeom>
            <a:avLst/>
            <a:gdLst/>
            <a:ahLst/>
            <a:cxnLst/>
            <a:rect l="l" t="t" r="r" b="b"/>
            <a:pathLst>
              <a:path w="88210" h="390231">
                <a:moveTo>
                  <a:pt x="39814" y="43263"/>
                </a:moveTo>
                <a:lnTo>
                  <a:pt x="33273" y="29385"/>
                </a:lnTo>
                <a:lnTo>
                  <a:pt x="27807" y="14946"/>
                </a:lnTo>
                <a:lnTo>
                  <a:pt x="23468" y="0"/>
                </a:lnTo>
                <a:lnTo>
                  <a:pt x="24011" y="51737"/>
                </a:lnTo>
                <a:lnTo>
                  <a:pt x="32238" y="66252"/>
                </a:lnTo>
                <a:lnTo>
                  <a:pt x="41526" y="80043"/>
                </a:lnTo>
                <a:lnTo>
                  <a:pt x="51822" y="93054"/>
                </a:lnTo>
                <a:lnTo>
                  <a:pt x="63071" y="105230"/>
                </a:lnTo>
                <a:lnTo>
                  <a:pt x="75218" y="116514"/>
                </a:lnTo>
                <a:lnTo>
                  <a:pt x="88210" y="126849"/>
                </a:lnTo>
                <a:lnTo>
                  <a:pt x="86886" y="102460"/>
                </a:lnTo>
                <a:lnTo>
                  <a:pt x="75725" y="92151"/>
                </a:lnTo>
                <a:lnTo>
                  <a:pt x="65387" y="81025"/>
                </a:lnTo>
                <a:lnTo>
                  <a:pt x="55922" y="69134"/>
                </a:lnTo>
                <a:lnTo>
                  <a:pt x="47381" y="56530"/>
                </a:lnTo>
                <a:lnTo>
                  <a:pt x="39814" y="43263"/>
                </a:lnTo>
                <a:close/>
              </a:path>
              <a:path w="88210" h="390231">
                <a:moveTo>
                  <a:pt x="712" y="-29710"/>
                </a:moveTo>
                <a:lnTo>
                  <a:pt x="2813" y="-12424"/>
                </a:lnTo>
                <a:lnTo>
                  <a:pt x="6247" y="4418"/>
                </a:lnTo>
                <a:lnTo>
                  <a:pt x="10962" y="20764"/>
                </a:lnTo>
                <a:lnTo>
                  <a:pt x="16901" y="36556"/>
                </a:lnTo>
                <a:lnTo>
                  <a:pt x="24011" y="51737"/>
                </a:lnTo>
                <a:lnTo>
                  <a:pt x="23468" y="0"/>
                </a:lnTo>
                <a:lnTo>
                  <a:pt x="20306" y="-15404"/>
                </a:lnTo>
                <a:lnTo>
                  <a:pt x="18372" y="-31214"/>
                </a:lnTo>
                <a:lnTo>
                  <a:pt x="17716" y="-47380"/>
                </a:lnTo>
                <a:lnTo>
                  <a:pt x="18372" y="-63667"/>
                </a:lnTo>
                <a:lnTo>
                  <a:pt x="20306" y="-79587"/>
                </a:lnTo>
                <a:lnTo>
                  <a:pt x="23468" y="-95089"/>
                </a:lnTo>
                <a:lnTo>
                  <a:pt x="27807" y="-110122"/>
                </a:lnTo>
                <a:lnTo>
                  <a:pt x="33273" y="-124637"/>
                </a:lnTo>
                <a:lnTo>
                  <a:pt x="39814" y="-138583"/>
                </a:lnTo>
                <a:lnTo>
                  <a:pt x="47381" y="-151908"/>
                </a:lnTo>
                <a:lnTo>
                  <a:pt x="55922" y="-164562"/>
                </a:lnTo>
                <a:lnTo>
                  <a:pt x="65387" y="-176495"/>
                </a:lnTo>
                <a:lnTo>
                  <a:pt x="75725" y="-187656"/>
                </a:lnTo>
                <a:lnTo>
                  <a:pt x="86886" y="-197994"/>
                </a:lnTo>
                <a:lnTo>
                  <a:pt x="98819" y="-207459"/>
                </a:lnTo>
                <a:lnTo>
                  <a:pt x="111473" y="-216000"/>
                </a:lnTo>
                <a:lnTo>
                  <a:pt x="124798" y="-223567"/>
                </a:lnTo>
                <a:lnTo>
                  <a:pt x="138744" y="-230108"/>
                </a:lnTo>
                <a:lnTo>
                  <a:pt x="153259" y="-235574"/>
                </a:lnTo>
                <a:lnTo>
                  <a:pt x="168292" y="-239913"/>
                </a:lnTo>
                <a:lnTo>
                  <a:pt x="183794" y="-243075"/>
                </a:lnTo>
                <a:lnTo>
                  <a:pt x="199714" y="-245009"/>
                </a:lnTo>
                <a:lnTo>
                  <a:pt x="216001" y="-245665"/>
                </a:lnTo>
                <a:lnTo>
                  <a:pt x="232167" y="-245009"/>
                </a:lnTo>
                <a:lnTo>
                  <a:pt x="247977" y="-243075"/>
                </a:lnTo>
                <a:lnTo>
                  <a:pt x="263382" y="-239913"/>
                </a:lnTo>
                <a:lnTo>
                  <a:pt x="278328" y="-235574"/>
                </a:lnTo>
                <a:lnTo>
                  <a:pt x="292767" y="-230108"/>
                </a:lnTo>
                <a:lnTo>
                  <a:pt x="306645" y="-223567"/>
                </a:lnTo>
                <a:lnTo>
                  <a:pt x="319912" y="-216000"/>
                </a:lnTo>
                <a:lnTo>
                  <a:pt x="332516" y="-207459"/>
                </a:lnTo>
                <a:lnTo>
                  <a:pt x="344407" y="-197994"/>
                </a:lnTo>
                <a:lnTo>
                  <a:pt x="355533" y="-187656"/>
                </a:lnTo>
                <a:lnTo>
                  <a:pt x="365842" y="-176495"/>
                </a:lnTo>
                <a:lnTo>
                  <a:pt x="375284" y="-164562"/>
                </a:lnTo>
                <a:lnTo>
                  <a:pt x="383807" y="-151908"/>
                </a:lnTo>
                <a:lnTo>
                  <a:pt x="391360" y="-138583"/>
                </a:lnTo>
                <a:lnTo>
                  <a:pt x="397892" y="-124637"/>
                </a:lnTo>
                <a:lnTo>
                  <a:pt x="403351" y="-110122"/>
                </a:lnTo>
                <a:lnTo>
                  <a:pt x="407686" y="-95089"/>
                </a:lnTo>
                <a:lnTo>
                  <a:pt x="410846" y="-79587"/>
                </a:lnTo>
                <a:lnTo>
                  <a:pt x="412779" y="-63667"/>
                </a:lnTo>
                <a:lnTo>
                  <a:pt x="413435" y="-47380"/>
                </a:lnTo>
                <a:lnTo>
                  <a:pt x="412779" y="-31214"/>
                </a:lnTo>
                <a:lnTo>
                  <a:pt x="410846" y="-15404"/>
                </a:lnTo>
                <a:lnTo>
                  <a:pt x="407686" y="0"/>
                </a:lnTo>
                <a:lnTo>
                  <a:pt x="403351" y="14946"/>
                </a:lnTo>
                <a:lnTo>
                  <a:pt x="397892" y="29385"/>
                </a:lnTo>
                <a:lnTo>
                  <a:pt x="391360" y="43263"/>
                </a:lnTo>
                <a:lnTo>
                  <a:pt x="383807" y="56530"/>
                </a:lnTo>
                <a:lnTo>
                  <a:pt x="375284" y="69134"/>
                </a:lnTo>
                <a:lnTo>
                  <a:pt x="365842" y="81025"/>
                </a:lnTo>
                <a:lnTo>
                  <a:pt x="355533" y="92151"/>
                </a:lnTo>
                <a:lnTo>
                  <a:pt x="344407" y="102460"/>
                </a:lnTo>
                <a:lnTo>
                  <a:pt x="332516" y="111902"/>
                </a:lnTo>
                <a:lnTo>
                  <a:pt x="319912" y="120425"/>
                </a:lnTo>
                <a:lnTo>
                  <a:pt x="306645" y="127978"/>
                </a:lnTo>
                <a:lnTo>
                  <a:pt x="292767" y="134510"/>
                </a:lnTo>
                <a:lnTo>
                  <a:pt x="278328" y="139969"/>
                </a:lnTo>
                <a:lnTo>
                  <a:pt x="263382" y="144304"/>
                </a:lnTo>
                <a:lnTo>
                  <a:pt x="247977" y="147464"/>
                </a:lnTo>
                <a:lnTo>
                  <a:pt x="232167" y="149397"/>
                </a:lnTo>
                <a:lnTo>
                  <a:pt x="216001" y="150053"/>
                </a:lnTo>
                <a:lnTo>
                  <a:pt x="199714" y="149397"/>
                </a:lnTo>
                <a:lnTo>
                  <a:pt x="183794" y="147464"/>
                </a:lnTo>
                <a:lnTo>
                  <a:pt x="168292" y="144304"/>
                </a:lnTo>
                <a:lnTo>
                  <a:pt x="153259" y="139969"/>
                </a:lnTo>
                <a:lnTo>
                  <a:pt x="138744" y="134510"/>
                </a:lnTo>
                <a:lnTo>
                  <a:pt x="124798" y="127978"/>
                </a:lnTo>
                <a:lnTo>
                  <a:pt x="111473" y="120425"/>
                </a:lnTo>
                <a:lnTo>
                  <a:pt x="98819" y="111902"/>
                </a:lnTo>
                <a:lnTo>
                  <a:pt x="86886" y="102460"/>
                </a:lnTo>
                <a:lnTo>
                  <a:pt x="88210" y="126849"/>
                </a:lnTo>
                <a:lnTo>
                  <a:pt x="101991" y="136179"/>
                </a:lnTo>
                <a:lnTo>
                  <a:pt x="116508" y="144448"/>
                </a:lnTo>
                <a:lnTo>
                  <a:pt x="131705" y="151599"/>
                </a:lnTo>
                <a:lnTo>
                  <a:pt x="147529" y="157577"/>
                </a:lnTo>
                <a:lnTo>
                  <a:pt x="163925" y="162324"/>
                </a:lnTo>
                <a:lnTo>
                  <a:pt x="180839" y="165785"/>
                </a:lnTo>
                <a:lnTo>
                  <a:pt x="198216" y="167902"/>
                </a:lnTo>
                <a:lnTo>
                  <a:pt x="216001" y="168621"/>
                </a:lnTo>
                <a:lnTo>
                  <a:pt x="233673" y="167902"/>
                </a:lnTo>
                <a:lnTo>
                  <a:pt x="250960" y="165785"/>
                </a:lnTo>
                <a:lnTo>
                  <a:pt x="267804" y="162324"/>
                </a:lnTo>
                <a:lnTo>
                  <a:pt x="284151" y="157577"/>
                </a:lnTo>
                <a:lnTo>
                  <a:pt x="299943" y="151599"/>
                </a:lnTo>
                <a:lnTo>
                  <a:pt x="315125" y="144448"/>
                </a:lnTo>
                <a:lnTo>
                  <a:pt x="329639" y="136179"/>
                </a:lnTo>
                <a:lnTo>
                  <a:pt x="343430" y="126849"/>
                </a:lnTo>
                <a:lnTo>
                  <a:pt x="356442" y="116514"/>
                </a:lnTo>
                <a:lnTo>
                  <a:pt x="368617" y="105230"/>
                </a:lnTo>
                <a:lnTo>
                  <a:pt x="379900" y="93054"/>
                </a:lnTo>
                <a:lnTo>
                  <a:pt x="390235" y="80043"/>
                </a:lnTo>
                <a:lnTo>
                  <a:pt x="399564" y="66252"/>
                </a:lnTo>
                <a:lnTo>
                  <a:pt x="407832" y="51737"/>
                </a:lnTo>
                <a:lnTo>
                  <a:pt x="414983" y="36556"/>
                </a:lnTo>
                <a:lnTo>
                  <a:pt x="420960" y="20764"/>
                </a:lnTo>
                <a:lnTo>
                  <a:pt x="425707" y="4418"/>
                </a:lnTo>
                <a:lnTo>
                  <a:pt x="429167" y="-12424"/>
                </a:lnTo>
                <a:lnTo>
                  <a:pt x="431284" y="-29710"/>
                </a:lnTo>
                <a:lnTo>
                  <a:pt x="432003" y="-47380"/>
                </a:lnTo>
                <a:lnTo>
                  <a:pt x="431284" y="-65165"/>
                </a:lnTo>
                <a:lnTo>
                  <a:pt x="429167" y="-82542"/>
                </a:lnTo>
                <a:lnTo>
                  <a:pt x="425707" y="-99456"/>
                </a:lnTo>
                <a:lnTo>
                  <a:pt x="420960" y="-115852"/>
                </a:lnTo>
                <a:lnTo>
                  <a:pt x="414983" y="-131676"/>
                </a:lnTo>
                <a:lnTo>
                  <a:pt x="407832" y="-146873"/>
                </a:lnTo>
                <a:lnTo>
                  <a:pt x="399564" y="-161390"/>
                </a:lnTo>
                <a:lnTo>
                  <a:pt x="390235" y="-175171"/>
                </a:lnTo>
                <a:lnTo>
                  <a:pt x="379900" y="-188163"/>
                </a:lnTo>
                <a:lnTo>
                  <a:pt x="368617" y="-200310"/>
                </a:lnTo>
                <a:lnTo>
                  <a:pt x="356442" y="-211559"/>
                </a:lnTo>
                <a:lnTo>
                  <a:pt x="343430" y="-221855"/>
                </a:lnTo>
                <a:lnTo>
                  <a:pt x="329639" y="-231143"/>
                </a:lnTo>
                <a:lnTo>
                  <a:pt x="315125" y="-239370"/>
                </a:lnTo>
                <a:lnTo>
                  <a:pt x="299943" y="-246480"/>
                </a:lnTo>
                <a:lnTo>
                  <a:pt x="284151" y="-252419"/>
                </a:lnTo>
                <a:lnTo>
                  <a:pt x="267804" y="-257134"/>
                </a:lnTo>
                <a:lnTo>
                  <a:pt x="250960" y="-260568"/>
                </a:lnTo>
                <a:lnTo>
                  <a:pt x="233673" y="-262669"/>
                </a:lnTo>
                <a:lnTo>
                  <a:pt x="216001" y="-263382"/>
                </a:lnTo>
                <a:lnTo>
                  <a:pt x="198216" y="-262669"/>
                </a:lnTo>
                <a:lnTo>
                  <a:pt x="180839" y="-260568"/>
                </a:lnTo>
                <a:lnTo>
                  <a:pt x="163925" y="-257134"/>
                </a:lnTo>
                <a:lnTo>
                  <a:pt x="147529" y="-252419"/>
                </a:lnTo>
                <a:lnTo>
                  <a:pt x="131705" y="-246480"/>
                </a:lnTo>
                <a:lnTo>
                  <a:pt x="116508" y="-239370"/>
                </a:lnTo>
                <a:lnTo>
                  <a:pt x="101991" y="-231143"/>
                </a:lnTo>
                <a:lnTo>
                  <a:pt x="88210" y="-221855"/>
                </a:lnTo>
                <a:lnTo>
                  <a:pt x="75218" y="-211559"/>
                </a:lnTo>
                <a:lnTo>
                  <a:pt x="63071" y="-200310"/>
                </a:lnTo>
                <a:lnTo>
                  <a:pt x="51822" y="-188163"/>
                </a:lnTo>
                <a:lnTo>
                  <a:pt x="41526" y="-175171"/>
                </a:lnTo>
                <a:lnTo>
                  <a:pt x="32238" y="-161390"/>
                </a:lnTo>
                <a:lnTo>
                  <a:pt x="24011" y="-146873"/>
                </a:lnTo>
                <a:lnTo>
                  <a:pt x="16901" y="-131676"/>
                </a:lnTo>
                <a:lnTo>
                  <a:pt x="10962" y="-115852"/>
                </a:lnTo>
                <a:lnTo>
                  <a:pt x="6247" y="-99456"/>
                </a:lnTo>
                <a:lnTo>
                  <a:pt x="2813" y="-82542"/>
                </a:lnTo>
                <a:lnTo>
                  <a:pt x="712" y="-65165"/>
                </a:lnTo>
                <a:lnTo>
                  <a:pt x="0" y="-47380"/>
                </a:lnTo>
                <a:lnTo>
                  <a:pt x="712" y="-29710"/>
                </a:lnTo>
                <a:close/>
              </a:path>
            </a:pathLst>
          </a:custGeom>
          <a:solidFill>
            <a:srgbClr val="0094AA"/>
          </a:solidFill>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57" name="object 2724"/>
          <p:cNvSpPr/>
          <p:nvPr/>
        </p:nvSpPr>
        <p:spPr>
          <a:xfrm>
            <a:off x="5724253" y="4047114"/>
            <a:ext cx="181860" cy="26200"/>
          </a:xfrm>
          <a:custGeom>
            <a:avLst/>
            <a:gdLst/>
            <a:ahLst/>
            <a:cxnLst/>
            <a:rect l="l" t="t" r="r" b="b"/>
            <a:pathLst>
              <a:path w="121843" h="22148">
                <a:moveTo>
                  <a:pt x="113664" y="0"/>
                </a:moveTo>
                <a:lnTo>
                  <a:pt x="4089" y="0"/>
                </a:lnTo>
                <a:lnTo>
                  <a:pt x="0" y="4216"/>
                </a:lnTo>
                <a:lnTo>
                  <a:pt x="0" y="16878"/>
                </a:lnTo>
                <a:lnTo>
                  <a:pt x="4089" y="22148"/>
                </a:lnTo>
                <a:lnTo>
                  <a:pt x="118567" y="22148"/>
                </a:lnTo>
                <a:lnTo>
                  <a:pt x="121843" y="16878"/>
                </a:lnTo>
                <a:lnTo>
                  <a:pt x="121843" y="4216"/>
                </a:lnTo>
                <a:lnTo>
                  <a:pt x="118567" y="0"/>
                </a:lnTo>
                <a:lnTo>
                  <a:pt x="113664" y="0"/>
                </a:lnTo>
                <a:close/>
              </a:path>
            </a:pathLst>
          </a:custGeom>
          <a:solidFill>
            <a:srgbClr val="0094AA"/>
          </a:solidFill>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58" name="object 2725"/>
          <p:cNvSpPr/>
          <p:nvPr/>
        </p:nvSpPr>
        <p:spPr>
          <a:xfrm>
            <a:off x="5757325" y="3824355"/>
            <a:ext cx="314115" cy="248967"/>
          </a:xfrm>
          <a:custGeom>
            <a:avLst/>
            <a:gdLst/>
            <a:ahLst/>
            <a:cxnLst/>
            <a:rect l="l" t="t" r="r" b="b"/>
            <a:pathLst>
              <a:path w="210451" h="210464">
                <a:moveTo>
                  <a:pt x="0" y="96748"/>
                </a:moveTo>
                <a:lnTo>
                  <a:pt x="0" y="102679"/>
                </a:lnTo>
                <a:lnTo>
                  <a:pt x="3390" y="106083"/>
                </a:lnTo>
                <a:lnTo>
                  <a:pt x="67881" y="169722"/>
                </a:lnTo>
                <a:lnTo>
                  <a:pt x="71285" y="172275"/>
                </a:lnTo>
                <a:lnTo>
                  <a:pt x="67881" y="144272"/>
                </a:lnTo>
                <a:lnTo>
                  <a:pt x="28841" y="106083"/>
                </a:lnTo>
                <a:lnTo>
                  <a:pt x="106070" y="28854"/>
                </a:lnTo>
                <a:lnTo>
                  <a:pt x="144259" y="67043"/>
                </a:lnTo>
                <a:lnTo>
                  <a:pt x="156984" y="80619"/>
                </a:lnTo>
                <a:lnTo>
                  <a:pt x="158686" y="82321"/>
                </a:lnTo>
                <a:lnTo>
                  <a:pt x="161239" y="83159"/>
                </a:lnTo>
                <a:lnTo>
                  <a:pt x="166331" y="83159"/>
                </a:lnTo>
                <a:lnTo>
                  <a:pt x="169722" y="80619"/>
                </a:lnTo>
                <a:lnTo>
                  <a:pt x="173964" y="76377"/>
                </a:lnTo>
                <a:lnTo>
                  <a:pt x="173964" y="71285"/>
                </a:lnTo>
                <a:lnTo>
                  <a:pt x="169722" y="67043"/>
                </a:lnTo>
                <a:lnTo>
                  <a:pt x="106070" y="3390"/>
                </a:lnTo>
                <a:lnTo>
                  <a:pt x="102679" y="0"/>
                </a:lnTo>
                <a:lnTo>
                  <a:pt x="96735" y="0"/>
                </a:lnTo>
                <a:lnTo>
                  <a:pt x="93344" y="3390"/>
                </a:lnTo>
                <a:lnTo>
                  <a:pt x="89954" y="6794"/>
                </a:lnTo>
                <a:lnTo>
                  <a:pt x="89954" y="12725"/>
                </a:lnTo>
                <a:lnTo>
                  <a:pt x="93344" y="16129"/>
                </a:lnTo>
                <a:lnTo>
                  <a:pt x="16116" y="93345"/>
                </a:lnTo>
                <a:lnTo>
                  <a:pt x="12725" y="89103"/>
                </a:lnTo>
                <a:lnTo>
                  <a:pt x="6781" y="89103"/>
                </a:lnTo>
                <a:lnTo>
                  <a:pt x="3390" y="93345"/>
                </a:lnTo>
                <a:lnTo>
                  <a:pt x="0" y="96748"/>
                </a:lnTo>
                <a:close/>
              </a:path>
              <a:path w="210451" h="210464">
                <a:moveTo>
                  <a:pt x="207060" y="195186"/>
                </a:moveTo>
                <a:lnTo>
                  <a:pt x="125590" y="112014"/>
                </a:lnTo>
                <a:lnTo>
                  <a:pt x="156984" y="80619"/>
                </a:lnTo>
                <a:lnTo>
                  <a:pt x="144259" y="67043"/>
                </a:lnTo>
                <a:lnTo>
                  <a:pt x="67881" y="144272"/>
                </a:lnTo>
                <a:lnTo>
                  <a:pt x="71285" y="172275"/>
                </a:lnTo>
                <a:lnTo>
                  <a:pt x="76365" y="172275"/>
                </a:lnTo>
                <a:lnTo>
                  <a:pt x="80619" y="169722"/>
                </a:lnTo>
                <a:lnTo>
                  <a:pt x="84010" y="166331"/>
                </a:lnTo>
                <a:lnTo>
                  <a:pt x="84010" y="160388"/>
                </a:lnTo>
                <a:lnTo>
                  <a:pt x="80619" y="156997"/>
                </a:lnTo>
                <a:lnTo>
                  <a:pt x="112013" y="124752"/>
                </a:lnTo>
                <a:lnTo>
                  <a:pt x="194335" y="207911"/>
                </a:lnTo>
                <a:lnTo>
                  <a:pt x="196024" y="209613"/>
                </a:lnTo>
                <a:lnTo>
                  <a:pt x="198577" y="210464"/>
                </a:lnTo>
                <a:lnTo>
                  <a:pt x="202818" y="210464"/>
                </a:lnTo>
                <a:lnTo>
                  <a:pt x="205358" y="209613"/>
                </a:lnTo>
                <a:lnTo>
                  <a:pt x="207060" y="207911"/>
                </a:lnTo>
                <a:lnTo>
                  <a:pt x="210451" y="204520"/>
                </a:lnTo>
                <a:lnTo>
                  <a:pt x="210451" y="198577"/>
                </a:lnTo>
                <a:lnTo>
                  <a:pt x="207060" y="195186"/>
                </a:lnTo>
                <a:close/>
              </a:path>
            </a:pathLst>
          </a:custGeom>
          <a:solidFill>
            <a:srgbClr val="0094AA"/>
          </a:solidFill>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59" name="object 2726"/>
          <p:cNvSpPr/>
          <p:nvPr/>
        </p:nvSpPr>
        <p:spPr>
          <a:xfrm>
            <a:off x="3551182" y="5218590"/>
            <a:ext cx="344011" cy="318330"/>
          </a:xfrm>
          <a:custGeom>
            <a:avLst/>
            <a:gdLst/>
            <a:ahLst/>
            <a:cxnLst/>
            <a:rect l="l" t="t" r="r" b="b"/>
            <a:pathLst>
              <a:path w="230481" h="269100">
                <a:moveTo>
                  <a:pt x="70542" y="207200"/>
                </a:moveTo>
                <a:lnTo>
                  <a:pt x="190278" y="49339"/>
                </a:lnTo>
                <a:lnTo>
                  <a:pt x="59062" y="192849"/>
                </a:lnTo>
                <a:lnTo>
                  <a:pt x="56598" y="188366"/>
                </a:lnTo>
                <a:lnTo>
                  <a:pt x="53321" y="184784"/>
                </a:lnTo>
                <a:lnTo>
                  <a:pt x="58120" y="220988"/>
                </a:lnTo>
                <a:lnTo>
                  <a:pt x="66963" y="230853"/>
                </a:lnTo>
                <a:lnTo>
                  <a:pt x="75551" y="239508"/>
                </a:lnTo>
                <a:lnTo>
                  <a:pt x="83680" y="246964"/>
                </a:lnTo>
                <a:lnTo>
                  <a:pt x="91151" y="253237"/>
                </a:lnTo>
                <a:lnTo>
                  <a:pt x="97760" y="258339"/>
                </a:lnTo>
                <a:lnTo>
                  <a:pt x="103307" y="262283"/>
                </a:lnTo>
                <a:lnTo>
                  <a:pt x="107588" y="265084"/>
                </a:lnTo>
                <a:lnTo>
                  <a:pt x="110404" y="266755"/>
                </a:lnTo>
                <a:lnTo>
                  <a:pt x="113189" y="268198"/>
                </a:lnTo>
                <a:lnTo>
                  <a:pt x="116466" y="269100"/>
                </a:lnTo>
                <a:lnTo>
                  <a:pt x="119755" y="267309"/>
                </a:lnTo>
                <a:lnTo>
                  <a:pt x="120784" y="266755"/>
                </a:lnTo>
                <a:lnTo>
                  <a:pt x="127680" y="262283"/>
                </a:lnTo>
                <a:lnTo>
                  <a:pt x="139677" y="253237"/>
                </a:lnTo>
                <a:lnTo>
                  <a:pt x="147083" y="246964"/>
                </a:lnTo>
                <a:lnTo>
                  <a:pt x="155156" y="239508"/>
                </a:lnTo>
                <a:lnTo>
                  <a:pt x="163695" y="230853"/>
                </a:lnTo>
                <a:lnTo>
                  <a:pt x="172498" y="220988"/>
                </a:lnTo>
                <a:lnTo>
                  <a:pt x="181361" y="209899"/>
                </a:lnTo>
                <a:lnTo>
                  <a:pt x="190083" y="197571"/>
                </a:lnTo>
                <a:lnTo>
                  <a:pt x="198461" y="183993"/>
                </a:lnTo>
                <a:lnTo>
                  <a:pt x="206293" y="169149"/>
                </a:lnTo>
                <a:lnTo>
                  <a:pt x="213376" y="153027"/>
                </a:lnTo>
                <a:lnTo>
                  <a:pt x="219508" y="135614"/>
                </a:lnTo>
                <a:lnTo>
                  <a:pt x="224487" y="116896"/>
                </a:lnTo>
                <a:lnTo>
                  <a:pt x="228111" y="96859"/>
                </a:lnTo>
                <a:lnTo>
                  <a:pt x="230176" y="75489"/>
                </a:lnTo>
                <a:lnTo>
                  <a:pt x="230481" y="52775"/>
                </a:lnTo>
                <a:lnTo>
                  <a:pt x="228822" y="28701"/>
                </a:lnTo>
                <a:lnTo>
                  <a:pt x="228822" y="25120"/>
                </a:lnTo>
                <a:lnTo>
                  <a:pt x="227184" y="22428"/>
                </a:lnTo>
                <a:lnTo>
                  <a:pt x="223908" y="20624"/>
                </a:lnTo>
                <a:lnTo>
                  <a:pt x="221444" y="19735"/>
                </a:lnTo>
                <a:lnTo>
                  <a:pt x="218167" y="19735"/>
                </a:lnTo>
                <a:lnTo>
                  <a:pt x="215703" y="21526"/>
                </a:lnTo>
                <a:lnTo>
                  <a:pt x="201702" y="29977"/>
                </a:lnTo>
                <a:lnTo>
                  <a:pt x="190278" y="36359"/>
                </a:lnTo>
                <a:lnTo>
                  <a:pt x="213240" y="51130"/>
                </a:lnTo>
                <a:lnTo>
                  <a:pt x="213134" y="71590"/>
                </a:lnTo>
                <a:lnTo>
                  <a:pt x="211528" y="90854"/>
                </a:lnTo>
                <a:lnTo>
                  <a:pt x="208585" y="108937"/>
                </a:lnTo>
                <a:lnTo>
                  <a:pt x="204468" y="125855"/>
                </a:lnTo>
                <a:lnTo>
                  <a:pt x="199338" y="141624"/>
                </a:lnTo>
                <a:lnTo>
                  <a:pt x="193359" y="156259"/>
                </a:lnTo>
                <a:lnTo>
                  <a:pt x="186693" y="169777"/>
                </a:lnTo>
                <a:lnTo>
                  <a:pt x="179502" y="182192"/>
                </a:lnTo>
                <a:lnTo>
                  <a:pt x="171949" y="193520"/>
                </a:lnTo>
                <a:lnTo>
                  <a:pt x="164197" y="203778"/>
                </a:lnTo>
                <a:lnTo>
                  <a:pt x="156408" y="212982"/>
                </a:lnTo>
                <a:lnTo>
                  <a:pt x="148744" y="221146"/>
                </a:lnTo>
                <a:lnTo>
                  <a:pt x="141368" y="228286"/>
                </a:lnTo>
                <a:lnTo>
                  <a:pt x="134443" y="234419"/>
                </a:lnTo>
                <a:lnTo>
                  <a:pt x="128130" y="239560"/>
                </a:lnTo>
                <a:lnTo>
                  <a:pt x="122594" y="243725"/>
                </a:lnTo>
                <a:lnTo>
                  <a:pt x="115653" y="248462"/>
                </a:lnTo>
                <a:lnTo>
                  <a:pt x="109347" y="244059"/>
                </a:lnTo>
                <a:lnTo>
                  <a:pt x="100978" y="237514"/>
                </a:lnTo>
                <a:lnTo>
                  <a:pt x="91031" y="228780"/>
                </a:lnTo>
                <a:lnTo>
                  <a:pt x="79994" y="217810"/>
                </a:lnTo>
                <a:lnTo>
                  <a:pt x="70542" y="207200"/>
                </a:lnTo>
                <a:close/>
              </a:path>
              <a:path w="230481" h="269100">
                <a:moveTo>
                  <a:pt x="40472" y="197571"/>
                </a:moveTo>
                <a:lnTo>
                  <a:pt x="49222" y="209899"/>
                </a:lnTo>
                <a:lnTo>
                  <a:pt x="58120" y="220988"/>
                </a:lnTo>
                <a:lnTo>
                  <a:pt x="53321" y="184784"/>
                </a:lnTo>
                <a:lnTo>
                  <a:pt x="50857" y="180289"/>
                </a:lnTo>
                <a:lnTo>
                  <a:pt x="170593" y="49339"/>
                </a:lnTo>
                <a:lnTo>
                  <a:pt x="177159" y="50228"/>
                </a:lnTo>
                <a:lnTo>
                  <a:pt x="183712" y="50228"/>
                </a:lnTo>
                <a:lnTo>
                  <a:pt x="190278" y="49339"/>
                </a:lnTo>
                <a:lnTo>
                  <a:pt x="70542" y="207200"/>
                </a:lnTo>
                <a:lnTo>
                  <a:pt x="213240" y="51130"/>
                </a:lnTo>
                <a:lnTo>
                  <a:pt x="190278" y="36359"/>
                </a:lnTo>
                <a:lnTo>
                  <a:pt x="180809" y="40553"/>
                </a:lnTo>
                <a:lnTo>
                  <a:pt x="172671" y="42439"/>
                </a:lnTo>
                <a:lnTo>
                  <a:pt x="165242" y="41901"/>
                </a:lnTo>
                <a:lnTo>
                  <a:pt x="157897" y="38818"/>
                </a:lnTo>
                <a:lnTo>
                  <a:pt x="150015" y="33073"/>
                </a:lnTo>
                <a:lnTo>
                  <a:pt x="140971" y="24547"/>
                </a:lnTo>
                <a:lnTo>
                  <a:pt x="130143" y="13121"/>
                </a:lnTo>
                <a:lnTo>
                  <a:pt x="121393" y="3581"/>
                </a:lnTo>
                <a:lnTo>
                  <a:pt x="118104" y="0"/>
                </a:lnTo>
                <a:lnTo>
                  <a:pt x="112376" y="0"/>
                </a:lnTo>
                <a:lnTo>
                  <a:pt x="109087" y="3581"/>
                </a:lnTo>
                <a:lnTo>
                  <a:pt x="95498" y="16208"/>
                </a:lnTo>
                <a:lnTo>
                  <a:pt x="81893" y="24548"/>
                </a:lnTo>
                <a:lnTo>
                  <a:pt x="68624" y="29305"/>
                </a:lnTo>
                <a:lnTo>
                  <a:pt x="56045" y="31186"/>
                </a:lnTo>
                <a:lnTo>
                  <a:pt x="44507" y="30894"/>
                </a:lnTo>
                <a:lnTo>
                  <a:pt x="34363" y="29135"/>
                </a:lnTo>
                <a:lnTo>
                  <a:pt x="25965" y="26614"/>
                </a:lnTo>
                <a:lnTo>
                  <a:pt x="19665" y="24037"/>
                </a:lnTo>
                <a:lnTo>
                  <a:pt x="15816" y="22108"/>
                </a:lnTo>
                <a:lnTo>
                  <a:pt x="12313" y="19735"/>
                </a:lnTo>
                <a:lnTo>
                  <a:pt x="9036" y="19735"/>
                </a:lnTo>
                <a:lnTo>
                  <a:pt x="4121" y="22428"/>
                </a:lnTo>
                <a:lnTo>
                  <a:pt x="1658" y="25120"/>
                </a:lnTo>
                <a:lnTo>
                  <a:pt x="1658" y="28701"/>
                </a:lnTo>
                <a:lnTo>
                  <a:pt x="0" y="52775"/>
                </a:lnTo>
                <a:lnTo>
                  <a:pt x="305" y="75489"/>
                </a:lnTo>
                <a:lnTo>
                  <a:pt x="2372" y="96859"/>
                </a:lnTo>
                <a:lnTo>
                  <a:pt x="5999" y="116896"/>
                </a:lnTo>
                <a:lnTo>
                  <a:pt x="10984" y="135614"/>
                </a:lnTo>
                <a:lnTo>
                  <a:pt x="17126" y="153027"/>
                </a:lnTo>
                <a:lnTo>
                  <a:pt x="24223" y="169149"/>
                </a:lnTo>
                <a:lnTo>
                  <a:pt x="20010" y="96686"/>
                </a:lnTo>
                <a:lnTo>
                  <a:pt x="18439" y="83488"/>
                </a:lnTo>
                <a:lnTo>
                  <a:pt x="17600" y="69701"/>
                </a:lnTo>
                <a:lnTo>
                  <a:pt x="17547" y="55314"/>
                </a:lnTo>
                <a:lnTo>
                  <a:pt x="18066" y="43954"/>
                </a:lnTo>
                <a:lnTo>
                  <a:pt x="25651" y="46403"/>
                </a:lnTo>
                <a:lnTo>
                  <a:pt x="34661" y="48511"/>
                </a:lnTo>
                <a:lnTo>
                  <a:pt x="44883" y="49866"/>
                </a:lnTo>
                <a:lnTo>
                  <a:pt x="56108" y="50057"/>
                </a:lnTo>
                <a:lnTo>
                  <a:pt x="68124" y="48669"/>
                </a:lnTo>
                <a:lnTo>
                  <a:pt x="80720" y="45292"/>
                </a:lnTo>
                <a:lnTo>
                  <a:pt x="93685" y="39513"/>
                </a:lnTo>
                <a:lnTo>
                  <a:pt x="106808" y="30920"/>
                </a:lnTo>
                <a:lnTo>
                  <a:pt x="115653" y="23317"/>
                </a:lnTo>
                <a:lnTo>
                  <a:pt x="126422" y="32365"/>
                </a:lnTo>
                <a:lnTo>
                  <a:pt x="137192" y="39305"/>
                </a:lnTo>
                <a:lnTo>
                  <a:pt x="147961" y="44136"/>
                </a:lnTo>
                <a:lnTo>
                  <a:pt x="150095" y="44843"/>
                </a:lnTo>
                <a:lnTo>
                  <a:pt x="41840" y="164147"/>
                </a:lnTo>
                <a:lnTo>
                  <a:pt x="36990" y="154242"/>
                </a:lnTo>
                <a:lnTo>
                  <a:pt x="32554" y="143817"/>
                </a:lnTo>
                <a:lnTo>
                  <a:pt x="32072" y="183993"/>
                </a:lnTo>
                <a:lnTo>
                  <a:pt x="40472" y="197571"/>
                </a:lnTo>
                <a:close/>
              </a:path>
              <a:path w="230481" h="269100">
                <a:moveTo>
                  <a:pt x="32554" y="143817"/>
                </a:moveTo>
                <a:lnTo>
                  <a:pt x="28585" y="132860"/>
                </a:lnTo>
                <a:lnTo>
                  <a:pt x="25136" y="121360"/>
                </a:lnTo>
                <a:lnTo>
                  <a:pt x="22260" y="109306"/>
                </a:lnTo>
                <a:lnTo>
                  <a:pt x="20010" y="96686"/>
                </a:lnTo>
                <a:lnTo>
                  <a:pt x="24223" y="169149"/>
                </a:lnTo>
                <a:lnTo>
                  <a:pt x="32072" y="183993"/>
                </a:lnTo>
                <a:lnTo>
                  <a:pt x="32554" y="143817"/>
                </a:lnTo>
                <a:close/>
              </a:path>
            </a:pathLst>
          </a:custGeom>
          <a:solidFill>
            <a:srgbClr val="2BA834"/>
          </a:solidFill>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60" name="object 2727"/>
          <p:cNvSpPr/>
          <p:nvPr/>
        </p:nvSpPr>
        <p:spPr>
          <a:xfrm>
            <a:off x="5453818" y="5757510"/>
            <a:ext cx="369428" cy="312290"/>
          </a:xfrm>
          <a:custGeom>
            <a:avLst/>
            <a:gdLst/>
            <a:ahLst/>
            <a:cxnLst/>
            <a:rect l="l" t="t" r="r" b="b"/>
            <a:pathLst>
              <a:path w="247510" h="263994">
                <a:moveTo>
                  <a:pt x="83439" y="194927"/>
                </a:moveTo>
                <a:lnTo>
                  <a:pt x="90779" y="195249"/>
                </a:lnTo>
                <a:lnTo>
                  <a:pt x="104082" y="194242"/>
                </a:lnTo>
                <a:lnTo>
                  <a:pt x="116698" y="191315"/>
                </a:lnTo>
                <a:lnTo>
                  <a:pt x="128584" y="186609"/>
                </a:lnTo>
                <a:lnTo>
                  <a:pt x="139696" y="180265"/>
                </a:lnTo>
                <a:lnTo>
                  <a:pt x="149021" y="173253"/>
                </a:lnTo>
                <a:lnTo>
                  <a:pt x="230377" y="261251"/>
                </a:lnTo>
                <a:lnTo>
                  <a:pt x="232943" y="263080"/>
                </a:lnTo>
                <a:lnTo>
                  <a:pt x="234657" y="263994"/>
                </a:lnTo>
                <a:lnTo>
                  <a:pt x="239801" y="263994"/>
                </a:lnTo>
                <a:lnTo>
                  <a:pt x="241515" y="263080"/>
                </a:lnTo>
                <a:lnTo>
                  <a:pt x="244081" y="261251"/>
                </a:lnTo>
                <a:lnTo>
                  <a:pt x="247510" y="256667"/>
                </a:lnTo>
                <a:lnTo>
                  <a:pt x="247510" y="251167"/>
                </a:lnTo>
                <a:lnTo>
                  <a:pt x="244081" y="246583"/>
                </a:lnTo>
                <a:lnTo>
                  <a:pt x="161861" y="159499"/>
                </a:lnTo>
                <a:lnTo>
                  <a:pt x="168725" y="148986"/>
                </a:lnTo>
                <a:lnTo>
                  <a:pt x="174323" y="137689"/>
                </a:lnTo>
                <a:lnTo>
                  <a:pt x="178541" y="125646"/>
                </a:lnTo>
                <a:lnTo>
                  <a:pt x="181270" y="112898"/>
                </a:lnTo>
                <a:lnTo>
                  <a:pt x="182398" y="99485"/>
                </a:lnTo>
                <a:lnTo>
                  <a:pt x="182422" y="97167"/>
                </a:lnTo>
                <a:lnTo>
                  <a:pt x="181335" y="82281"/>
                </a:lnTo>
                <a:lnTo>
                  <a:pt x="178180" y="68071"/>
                </a:lnTo>
                <a:lnTo>
                  <a:pt x="173123" y="54718"/>
                </a:lnTo>
                <a:lnTo>
                  <a:pt x="166325" y="42400"/>
                </a:lnTo>
                <a:lnTo>
                  <a:pt x="157952" y="31298"/>
                </a:lnTo>
                <a:lnTo>
                  <a:pt x="148166" y="21591"/>
                </a:lnTo>
                <a:lnTo>
                  <a:pt x="137130" y="13460"/>
                </a:lnTo>
                <a:lnTo>
                  <a:pt x="125008" y="7084"/>
                </a:lnTo>
                <a:lnTo>
                  <a:pt x="111964" y="2642"/>
                </a:lnTo>
                <a:lnTo>
                  <a:pt x="98160" y="314"/>
                </a:lnTo>
                <a:lnTo>
                  <a:pt x="90779" y="0"/>
                </a:lnTo>
                <a:lnTo>
                  <a:pt x="76813" y="1173"/>
                </a:lnTo>
                <a:lnTo>
                  <a:pt x="63485" y="4573"/>
                </a:lnTo>
                <a:lnTo>
                  <a:pt x="50964" y="10017"/>
                </a:lnTo>
                <a:lnTo>
                  <a:pt x="39422" y="17323"/>
                </a:lnTo>
                <a:lnTo>
                  <a:pt x="29028" y="26309"/>
                </a:lnTo>
                <a:lnTo>
                  <a:pt x="19953" y="36793"/>
                </a:lnTo>
                <a:lnTo>
                  <a:pt x="12366" y="48591"/>
                </a:lnTo>
                <a:lnTo>
                  <a:pt x="6440" y="61523"/>
                </a:lnTo>
                <a:lnTo>
                  <a:pt x="2343" y="75407"/>
                </a:lnTo>
                <a:lnTo>
                  <a:pt x="246" y="90059"/>
                </a:lnTo>
                <a:lnTo>
                  <a:pt x="0" y="97167"/>
                </a:lnTo>
                <a:lnTo>
                  <a:pt x="1086" y="112285"/>
                </a:lnTo>
                <a:lnTo>
                  <a:pt x="4232" y="126680"/>
                </a:lnTo>
                <a:lnTo>
                  <a:pt x="9271" y="140180"/>
                </a:lnTo>
                <a:lnTo>
                  <a:pt x="16034" y="152609"/>
                </a:lnTo>
                <a:lnTo>
                  <a:pt x="18266" y="103957"/>
                </a:lnTo>
                <a:lnTo>
                  <a:pt x="17995" y="97167"/>
                </a:lnTo>
                <a:lnTo>
                  <a:pt x="19338" y="82169"/>
                </a:lnTo>
                <a:lnTo>
                  <a:pt x="23199" y="68143"/>
                </a:lnTo>
                <a:lnTo>
                  <a:pt x="29327" y="55357"/>
                </a:lnTo>
                <a:lnTo>
                  <a:pt x="37469" y="44082"/>
                </a:lnTo>
                <a:lnTo>
                  <a:pt x="47373" y="34588"/>
                </a:lnTo>
                <a:lnTo>
                  <a:pt x="58789" y="27143"/>
                </a:lnTo>
                <a:lnTo>
                  <a:pt x="71464" y="22018"/>
                </a:lnTo>
                <a:lnTo>
                  <a:pt x="85147" y="19482"/>
                </a:lnTo>
                <a:lnTo>
                  <a:pt x="90779" y="19253"/>
                </a:lnTo>
                <a:lnTo>
                  <a:pt x="104752" y="20675"/>
                </a:lnTo>
                <a:lnTo>
                  <a:pt x="117883" y="24764"/>
                </a:lnTo>
                <a:lnTo>
                  <a:pt x="129907" y="31255"/>
                </a:lnTo>
                <a:lnTo>
                  <a:pt x="140560" y="39884"/>
                </a:lnTo>
                <a:lnTo>
                  <a:pt x="149577" y="50384"/>
                </a:lnTo>
                <a:lnTo>
                  <a:pt x="156694" y="62490"/>
                </a:lnTo>
                <a:lnTo>
                  <a:pt x="161646" y="75939"/>
                </a:lnTo>
                <a:lnTo>
                  <a:pt x="164167" y="90463"/>
                </a:lnTo>
                <a:lnTo>
                  <a:pt x="164439" y="97167"/>
                </a:lnTo>
                <a:lnTo>
                  <a:pt x="163094" y="112029"/>
                </a:lnTo>
                <a:lnTo>
                  <a:pt x="159232" y="126004"/>
                </a:lnTo>
                <a:lnTo>
                  <a:pt x="153112" y="138813"/>
                </a:lnTo>
                <a:lnTo>
                  <a:pt x="144994" y="150178"/>
                </a:lnTo>
                <a:lnTo>
                  <a:pt x="135139" y="159821"/>
                </a:lnTo>
                <a:lnTo>
                  <a:pt x="123805" y="167464"/>
                </a:lnTo>
                <a:lnTo>
                  <a:pt x="111253" y="172829"/>
                </a:lnTo>
                <a:lnTo>
                  <a:pt x="97743" y="175637"/>
                </a:lnTo>
                <a:lnTo>
                  <a:pt x="90779" y="175996"/>
                </a:lnTo>
                <a:lnTo>
                  <a:pt x="76853" y="174541"/>
                </a:lnTo>
                <a:lnTo>
                  <a:pt x="63821" y="170362"/>
                </a:lnTo>
                <a:lnTo>
                  <a:pt x="51932" y="163744"/>
                </a:lnTo>
                <a:lnTo>
                  <a:pt x="41432" y="154969"/>
                </a:lnTo>
                <a:lnTo>
                  <a:pt x="32568" y="144320"/>
                </a:lnTo>
                <a:lnTo>
                  <a:pt x="25588" y="132080"/>
                </a:lnTo>
                <a:lnTo>
                  <a:pt x="34065" y="173557"/>
                </a:lnTo>
                <a:lnTo>
                  <a:pt x="44996" y="181727"/>
                </a:lnTo>
                <a:lnTo>
                  <a:pt x="56980" y="188129"/>
                </a:lnTo>
                <a:lnTo>
                  <a:pt x="69851" y="192587"/>
                </a:lnTo>
                <a:lnTo>
                  <a:pt x="83439" y="194927"/>
                </a:lnTo>
                <a:close/>
              </a:path>
              <a:path w="247510" h="263994">
                <a:moveTo>
                  <a:pt x="24355" y="163793"/>
                </a:moveTo>
                <a:lnTo>
                  <a:pt x="34065" y="173557"/>
                </a:lnTo>
                <a:lnTo>
                  <a:pt x="25588" y="132080"/>
                </a:lnTo>
                <a:lnTo>
                  <a:pt x="20739" y="118531"/>
                </a:lnTo>
                <a:lnTo>
                  <a:pt x="18266" y="103957"/>
                </a:lnTo>
                <a:lnTo>
                  <a:pt x="16034" y="152609"/>
                </a:lnTo>
                <a:lnTo>
                  <a:pt x="24355" y="163793"/>
                </a:lnTo>
                <a:close/>
              </a:path>
            </a:pathLst>
          </a:custGeom>
          <a:solidFill>
            <a:srgbClr val="00682D"/>
          </a:solidFill>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61" name="object 111"/>
          <p:cNvSpPr/>
          <p:nvPr/>
        </p:nvSpPr>
        <p:spPr>
          <a:xfrm>
            <a:off x="7193929" y="5111301"/>
            <a:ext cx="708148" cy="561243"/>
          </a:xfrm>
          <a:custGeom>
            <a:avLst/>
            <a:gdLst/>
            <a:ahLst/>
            <a:cxnLst/>
            <a:rect l="l" t="t" r="r" b="b"/>
            <a:pathLst>
              <a:path w="474446" h="474446">
                <a:moveTo>
                  <a:pt x="237223" y="474446"/>
                </a:moveTo>
                <a:lnTo>
                  <a:pt x="256679" y="473660"/>
                </a:lnTo>
                <a:lnTo>
                  <a:pt x="275701" y="471341"/>
                </a:lnTo>
                <a:lnTo>
                  <a:pt x="294230" y="467552"/>
                </a:lnTo>
                <a:lnTo>
                  <a:pt x="312203" y="462352"/>
                </a:lnTo>
                <a:lnTo>
                  <a:pt x="329560" y="455804"/>
                </a:lnTo>
                <a:lnTo>
                  <a:pt x="346240" y="447967"/>
                </a:lnTo>
                <a:lnTo>
                  <a:pt x="362181" y="438904"/>
                </a:lnTo>
                <a:lnTo>
                  <a:pt x="377323" y="428675"/>
                </a:lnTo>
                <a:lnTo>
                  <a:pt x="391605" y="417342"/>
                </a:lnTo>
                <a:lnTo>
                  <a:pt x="404964" y="404964"/>
                </a:lnTo>
                <a:lnTo>
                  <a:pt x="417342" y="391605"/>
                </a:lnTo>
                <a:lnTo>
                  <a:pt x="428675" y="377323"/>
                </a:lnTo>
                <a:lnTo>
                  <a:pt x="438904" y="362181"/>
                </a:lnTo>
                <a:lnTo>
                  <a:pt x="447967" y="346240"/>
                </a:lnTo>
                <a:lnTo>
                  <a:pt x="455804" y="329560"/>
                </a:lnTo>
                <a:lnTo>
                  <a:pt x="462352" y="312203"/>
                </a:lnTo>
                <a:lnTo>
                  <a:pt x="467552" y="294230"/>
                </a:lnTo>
                <a:lnTo>
                  <a:pt x="471341" y="275701"/>
                </a:lnTo>
                <a:lnTo>
                  <a:pt x="473660" y="256679"/>
                </a:lnTo>
                <a:lnTo>
                  <a:pt x="474446" y="237223"/>
                </a:lnTo>
                <a:lnTo>
                  <a:pt x="473660" y="217767"/>
                </a:lnTo>
                <a:lnTo>
                  <a:pt x="471341" y="198744"/>
                </a:lnTo>
                <a:lnTo>
                  <a:pt x="467552" y="180216"/>
                </a:lnTo>
                <a:lnTo>
                  <a:pt x="462352" y="162243"/>
                </a:lnTo>
                <a:lnTo>
                  <a:pt x="455804" y="144885"/>
                </a:lnTo>
                <a:lnTo>
                  <a:pt x="447967" y="128206"/>
                </a:lnTo>
                <a:lnTo>
                  <a:pt x="438904" y="112264"/>
                </a:lnTo>
                <a:lnTo>
                  <a:pt x="428675" y="97122"/>
                </a:lnTo>
                <a:lnTo>
                  <a:pt x="417342" y="82841"/>
                </a:lnTo>
                <a:lnTo>
                  <a:pt x="404964" y="69481"/>
                </a:lnTo>
                <a:lnTo>
                  <a:pt x="391605" y="57104"/>
                </a:lnTo>
                <a:lnTo>
                  <a:pt x="377323" y="45770"/>
                </a:lnTo>
                <a:lnTo>
                  <a:pt x="362181" y="35541"/>
                </a:lnTo>
                <a:lnTo>
                  <a:pt x="346240" y="26478"/>
                </a:lnTo>
                <a:lnTo>
                  <a:pt x="329560" y="18642"/>
                </a:lnTo>
                <a:lnTo>
                  <a:pt x="312203" y="12093"/>
                </a:lnTo>
                <a:lnTo>
                  <a:pt x="294230" y="6894"/>
                </a:lnTo>
                <a:lnTo>
                  <a:pt x="275701" y="3104"/>
                </a:lnTo>
                <a:lnTo>
                  <a:pt x="256679" y="786"/>
                </a:lnTo>
                <a:lnTo>
                  <a:pt x="237223" y="0"/>
                </a:lnTo>
                <a:lnTo>
                  <a:pt x="217767" y="786"/>
                </a:lnTo>
                <a:lnTo>
                  <a:pt x="198744" y="3104"/>
                </a:lnTo>
                <a:lnTo>
                  <a:pt x="180216" y="6894"/>
                </a:lnTo>
                <a:lnTo>
                  <a:pt x="162243" y="12093"/>
                </a:lnTo>
                <a:lnTo>
                  <a:pt x="144885" y="18642"/>
                </a:lnTo>
                <a:lnTo>
                  <a:pt x="128206" y="26478"/>
                </a:lnTo>
                <a:lnTo>
                  <a:pt x="112264" y="35541"/>
                </a:lnTo>
                <a:lnTo>
                  <a:pt x="97122" y="45770"/>
                </a:lnTo>
                <a:lnTo>
                  <a:pt x="82841" y="57104"/>
                </a:lnTo>
                <a:lnTo>
                  <a:pt x="69481" y="69481"/>
                </a:lnTo>
                <a:lnTo>
                  <a:pt x="57104" y="82841"/>
                </a:lnTo>
                <a:lnTo>
                  <a:pt x="45770" y="97122"/>
                </a:lnTo>
                <a:lnTo>
                  <a:pt x="35541" y="112264"/>
                </a:lnTo>
                <a:lnTo>
                  <a:pt x="26478" y="128206"/>
                </a:lnTo>
                <a:lnTo>
                  <a:pt x="18642" y="144885"/>
                </a:lnTo>
                <a:lnTo>
                  <a:pt x="12093" y="162243"/>
                </a:lnTo>
                <a:lnTo>
                  <a:pt x="6894" y="180216"/>
                </a:lnTo>
                <a:lnTo>
                  <a:pt x="3104" y="198744"/>
                </a:lnTo>
                <a:lnTo>
                  <a:pt x="786" y="217767"/>
                </a:lnTo>
                <a:lnTo>
                  <a:pt x="0" y="237223"/>
                </a:lnTo>
                <a:lnTo>
                  <a:pt x="786" y="256679"/>
                </a:lnTo>
                <a:lnTo>
                  <a:pt x="3104" y="275701"/>
                </a:lnTo>
                <a:lnTo>
                  <a:pt x="6894" y="294230"/>
                </a:lnTo>
                <a:lnTo>
                  <a:pt x="12093" y="312203"/>
                </a:lnTo>
                <a:lnTo>
                  <a:pt x="18642" y="329560"/>
                </a:lnTo>
                <a:lnTo>
                  <a:pt x="26478" y="346240"/>
                </a:lnTo>
                <a:lnTo>
                  <a:pt x="35541" y="362181"/>
                </a:lnTo>
                <a:lnTo>
                  <a:pt x="45770" y="377323"/>
                </a:lnTo>
                <a:lnTo>
                  <a:pt x="57104" y="391605"/>
                </a:lnTo>
                <a:lnTo>
                  <a:pt x="69481" y="404964"/>
                </a:lnTo>
                <a:lnTo>
                  <a:pt x="82841" y="417342"/>
                </a:lnTo>
                <a:lnTo>
                  <a:pt x="97122" y="428675"/>
                </a:lnTo>
                <a:lnTo>
                  <a:pt x="112264" y="438904"/>
                </a:lnTo>
                <a:lnTo>
                  <a:pt x="128206" y="447967"/>
                </a:lnTo>
                <a:lnTo>
                  <a:pt x="144885" y="455804"/>
                </a:lnTo>
                <a:lnTo>
                  <a:pt x="162243" y="462352"/>
                </a:lnTo>
                <a:lnTo>
                  <a:pt x="180216" y="467552"/>
                </a:lnTo>
                <a:lnTo>
                  <a:pt x="198744" y="471341"/>
                </a:lnTo>
                <a:lnTo>
                  <a:pt x="217767" y="473660"/>
                </a:lnTo>
                <a:lnTo>
                  <a:pt x="237223" y="474446"/>
                </a:lnTo>
                <a:close/>
              </a:path>
            </a:pathLst>
          </a:custGeom>
          <a:ln w="26250">
            <a:solidFill>
              <a:srgbClr val="85BC22"/>
            </a:solidFill>
          </a:ln>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62" name="object 112"/>
          <p:cNvSpPr/>
          <p:nvPr/>
        </p:nvSpPr>
        <p:spPr>
          <a:xfrm>
            <a:off x="6588894" y="4514804"/>
            <a:ext cx="742306" cy="643405"/>
          </a:xfrm>
          <a:custGeom>
            <a:avLst/>
            <a:gdLst/>
            <a:ahLst/>
            <a:cxnLst/>
            <a:rect l="l" t="t" r="r" b="b"/>
            <a:pathLst>
              <a:path w="497332" h="543902">
                <a:moveTo>
                  <a:pt x="0" y="0"/>
                </a:moveTo>
                <a:lnTo>
                  <a:pt x="497331" y="543902"/>
                </a:lnTo>
              </a:path>
            </a:pathLst>
          </a:custGeom>
          <a:ln w="25400">
            <a:solidFill>
              <a:srgbClr val="85BC22"/>
            </a:solidFill>
          </a:ln>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63" name="object 113"/>
          <p:cNvSpPr/>
          <p:nvPr/>
        </p:nvSpPr>
        <p:spPr>
          <a:xfrm>
            <a:off x="7401278" y="5431276"/>
            <a:ext cx="99073" cy="79748"/>
          </a:xfrm>
          <a:custGeom>
            <a:avLst/>
            <a:gdLst/>
            <a:ahLst/>
            <a:cxnLst/>
            <a:rect l="l" t="t" r="r" b="b"/>
            <a:pathLst>
              <a:path w="66377" h="67415">
                <a:moveTo>
                  <a:pt x="65390" y="23803"/>
                </a:moveTo>
                <a:lnTo>
                  <a:pt x="59383" y="12596"/>
                </a:lnTo>
                <a:lnTo>
                  <a:pt x="49472" y="4054"/>
                </a:lnTo>
                <a:lnTo>
                  <a:pt x="48461" y="3458"/>
                </a:lnTo>
                <a:lnTo>
                  <a:pt x="36679" y="0"/>
                </a:lnTo>
                <a:lnTo>
                  <a:pt x="24168" y="1163"/>
                </a:lnTo>
                <a:lnTo>
                  <a:pt x="11910" y="7833"/>
                </a:lnTo>
                <a:lnTo>
                  <a:pt x="3504" y="17707"/>
                </a:lnTo>
                <a:lnTo>
                  <a:pt x="0" y="30205"/>
                </a:lnTo>
                <a:lnTo>
                  <a:pt x="933" y="42411"/>
                </a:lnTo>
                <a:lnTo>
                  <a:pt x="1446" y="44149"/>
                </a:lnTo>
                <a:lnTo>
                  <a:pt x="7521" y="55948"/>
                </a:lnTo>
                <a:lnTo>
                  <a:pt x="17012" y="64284"/>
                </a:lnTo>
                <a:lnTo>
                  <a:pt x="17435" y="64507"/>
                </a:lnTo>
                <a:lnTo>
                  <a:pt x="22134" y="67415"/>
                </a:lnTo>
                <a:lnTo>
                  <a:pt x="21194" y="42218"/>
                </a:lnTo>
                <a:lnTo>
                  <a:pt x="20254" y="38345"/>
                </a:lnTo>
                <a:lnTo>
                  <a:pt x="19314" y="34459"/>
                </a:lnTo>
                <a:lnTo>
                  <a:pt x="19314" y="30598"/>
                </a:lnTo>
                <a:lnTo>
                  <a:pt x="21194" y="27690"/>
                </a:lnTo>
                <a:lnTo>
                  <a:pt x="23074" y="24781"/>
                </a:lnTo>
                <a:lnTo>
                  <a:pt x="25893" y="21873"/>
                </a:lnTo>
                <a:lnTo>
                  <a:pt x="28712" y="20908"/>
                </a:lnTo>
                <a:lnTo>
                  <a:pt x="31532" y="19930"/>
                </a:lnTo>
                <a:lnTo>
                  <a:pt x="35291" y="19930"/>
                </a:lnTo>
                <a:lnTo>
                  <a:pt x="39063" y="21873"/>
                </a:lnTo>
                <a:lnTo>
                  <a:pt x="42822" y="23803"/>
                </a:lnTo>
                <a:lnTo>
                  <a:pt x="44702" y="26712"/>
                </a:lnTo>
                <a:lnTo>
                  <a:pt x="45642" y="29620"/>
                </a:lnTo>
                <a:lnTo>
                  <a:pt x="46581" y="33493"/>
                </a:lnTo>
                <a:lnTo>
                  <a:pt x="46581" y="37367"/>
                </a:lnTo>
                <a:lnTo>
                  <a:pt x="44702" y="40275"/>
                </a:lnTo>
                <a:lnTo>
                  <a:pt x="42822" y="44149"/>
                </a:lnTo>
                <a:lnTo>
                  <a:pt x="42822" y="67415"/>
                </a:lnTo>
                <a:lnTo>
                  <a:pt x="54086" y="61184"/>
                </a:lnTo>
                <a:lnTo>
                  <a:pt x="62148" y="50901"/>
                </a:lnTo>
                <a:lnTo>
                  <a:pt x="62571" y="49965"/>
                </a:lnTo>
                <a:lnTo>
                  <a:pt x="66377" y="38035"/>
                </a:lnTo>
                <a:lnTo>
                  <a:pt x="65700" y="25342"/>
                </a:lnTo>
                <a:lnTo>
                  <a:pt x="65390" y="23803"/>
                </a:lnTo>
                <a:close/>
              </a:path>
            </a:pathLst>
          </a:custGeom>
          <a:solidFill>
            <a:srgbClr val="8CB921"/>
          </a:solidFill>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64" name="object 114"/>
          <p:cNvSpPr/>
          <p:nvPr/>
        </p:nvSpPr>
        <p:spPr>
          <a:xfrm>
            <a:off x="7432911" y="5481219"/>
            <a:ext cx="32281" cy="30948"/>
          </a:xfrm>
          <a:custGeom>
            <a:avLst/>
            <a:gdLst/>
            <a:ahLst/>
            <a:cxnLst/>
            <a:rect l="l" t="t" r="r" b="b"/>
            <a:pathLst>
              <a:path w="21628" h="26162">
                <a:moveTo>
                  <a:pt x="5638" y="3873"/>
                </a:moveTo>
                <a:lnTo>
                  <a:pt x="2819" y="1930"/>
                </a:lnTo>
                <a:lnTo>
                  <a:pt x="0" y="0"/>
                </a:lnTo>
                <a:lnTo>
                  <a:pt x="939" y="25196"/>
                </a:lnTo>
                <a:lnTo>
                  <a:pt x="6578" y="26162"/>
                </a:lnTo>
                <a:lnTo>
                  <a:pt x="18808" y="26162"/>
                </a:lnTo>
                <a:lnTo>
                  <a:pt x="21628" y="25196"/>
                </a:lnTo>
                <a:lnTo>
                  <a:pt x="21628" y="1930"/>
                </a:lnTo>
                <a:lnTo>
                  <a:pt x="19748" y="3873"/>
                </a:lnTo>
                <a:lnTo>
                  <a:pt x="15989" y="4838"/>
                </a:lnTo>
                <a:lnTo>
                  <a:pt x="12217" y="5816"/>
                </a:lnTo>
                <a:lnTo>
                  <a:pt x="8458" y="5816"/>
                </a:lnTo>
                <a:lnTo>
                  <a:pt x="5638" y="3873"/>
                </a:lnTo>
                <a:close/>
              </a:path>
            </a:pathLst>
          </a:custGeom>
          <a:solidFill>
            <a:srgbClr val="8CB921"/>
          </a:solidFill>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65" name="object 115"/>
          <p:cNvSpPr/>
          <p:nvPr/>
        </p:nvSpPr>
        <p:spPr>
          <a:xfrm>
            <a:off x="7595720" y="5272141"/>
            <a:ext cx="98937" cy="79561"/>
          </a:xfrm>
          <a:custGeom>
            <a:avLst/>
            <a:gdLst/>
            <a:ahLst/>
            <a:cxnLst/>
            <a:rect l="l" t="t" r="r" b="b"/>
            <a:pathLst>
              <a:path w="66286" h="67257">
                <a:moveTo>
                  <a:pt x="64886" y="23645"/>
                </a:moveTo>
                <a:lnTo>
                  <a:pt x="62066" y="14933"/>
                </a:lnTo>
                <a:lnTo>
                  <a:pt x="56428" y="8151"/>
                </a:lnTo>
                <a:lnTo>
                  <a:pt x="48909" y="4278"/>
                </a:lnTo>
                <a:lnTo>
                  <a:pt x="36896" y="0"/>
                </a:lnTo>
                <a:lnTo>
                  <a:pt x="24884" y="921"/>
                </a:lnTo>
                <a:lnTo>
                  <a:pt x="12007" y="7679"/>
                </a:lnTo>
                <a:lnTo>
                  <a:pt x="3905" y="17549"/>
                </a:lnTo>
                <a:lnTo>
                  <a:pt x="0" y="29831"/>
                </a:lnTo>
                <a:lnTo>
                  <a:pt x="481" y="42374"/>
                </a:lnTo>
                <a:lnTo>
                  <a:pt x="941" y="44969"/>
                </a:lnTo>
                <a:lnTo>
                  <a:pt x="7182" y="56346"/>
                </a:lnTo>
                <a:lnTo>
                  <a:pt x="17543" y="64197"/>
                </a:lnTo>
                <a:lnTo>
                  <a:pt x="17870" y="64349"/>
                </a:lnTo>
                <a:lnTo>
                  <a:pt x="22569" y="67257"/>
                </a:lnTo>
                <a:lnTo>
                  <a:pt x="21630" y="42060"/>
                </a:lnTo>
                <a:lnTo>
                  <a:pt x="20690" y="38187"/>
                </a:lnTo>
                <a:lnTo>
                  <a:pt x="19750" y="35278"/>
                </a:lnTo>
                <a:lnTo>
                  <a:pt x="19750" y="31405"/>
                </a:lnTo>
                <a:lnTo>
                  <a:pt x="21630" y="27531"/>
                </a:lnTo>
                <a:lnTo>
                  <a:pt x="23509" y="24623"/>
                </a:lnTo>
                <a:lnTo>
                  <a:pt x="25389" y="22680"/>
                </a:lnTo>
                <a:lnTo>
                  <a:pt x="29161" y="20737"/>
                </a:lnTo>
                <a:lnTo>
                  <a:pt x="35739" y="20737"/>
                </a:lnTo>
                <a:lnTo>
                  <a:pt x="39499" y="21715"/>
                </a:lnTo>
                <a:lnTo>
                  <a:pt x="42318" y="23645"/>
                </a:lnTo>
                <a:lnTo>
                  <a:pt x="45150" y="26554"/>
                </a:lnTo>
                <a:lnTo>
                  <a:pt x="46090" y="30440"/>
                </a:lnTo>
                <a:lnTo>
                  <a:pt x="47017" y="33335"/>
                </a:lnTo>
                <a:lnTo>
                  <a:pt x="47017" y="37222"/>
                </a:lnTo>
                <a:lnTo>
                  <a:pt x="45150" y="41095"/>
                </a:lnTo>
                <a:lnTo>
                  <a:pt x="43258" y="43991"/>
                </a:lnTo>
                <a:lnTo>
                  <a:pt x="43258" y="67257"/>
                </a:lnTo>
                <a:lnTo>
                  <a:pt x="54425" y="60938"/>
                </a:lnTo>
                <a:lnTo>
                  <a:pt x="62832" y="51070"/>
                </a:lnTo>
                <a:lnTo>
                  <a:pt x="63006" y="50785"/>
                </a:lnTo>
                <a:lnTo>
                  <a:pt x="66286" y="38893"/>
                </a:lnTo>
                <a:lnTo>
                  <a:pt x="65608" y="26469"/>
                </a:lnTo>
                <a:lnTo>
                  <a:pt x="64886" y="23645"/>
                </a:lnTo>
                <a:close/>
              </a:path>
            </a:pathLst>
          </a:custGeom>
          <a:solidFill>
            <a:srgbClr val="8CB921"/>
          </a:solidFill>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66" name="object 116"/>
          <p:cNvSpPr/>
          <p:nvPr/>
        </p:nvSpPr>
        <p:spPr>
          <a:xfrm>
            <a:off x="7628005" y="5321897"/>
            <a:ext cx="32281" cy="32090"/>
          </a:xfrm>
          <a:custGeom>
            <a:avLst/>
            <a:gdLst/>
            <a:ahLst/>
            <a:cxnLst/>
            <a:rect l="l" t="t" r="r" b="b"/>
            <a:pathLst>
              <a:path w="21628" h="27127">
                <a:moveTo>
                  <a:pt x="5651" y="4851"/>
                </a:moveTo>
                <a:lnTo>
                  <a:pt x="1879" y="2908"/>
                </a:lnTo>
                <a:lnTo>
                  <a:pt x="0" y="0"/>
                </a:lnTo>
                <a:lnTo>
                  <a:pt x="939" y="25196"/>
                </a:lnTo>
                <a:lnTo>
                  <a:pt x="6591" y="27127"/>
                </a:lnTo>
                <a:lnTo>
                  <a:pt x="15049" y="27127"/>
                </a:lnTo>
                <a:lnTo>
                  <a:pt x="17868" y="26161"/>
                </a:lnTo>
                <a:lnTo>
                  <a:pt x="21628" y="25196"/>
                </a:lnTo>
                <a:lnTo>
                  <a:pt x="21628" y="1930"/>
                </a:lnTo>
                <a:lnTo>
                  <a:pt x="18808" y="3873"/>
                </a:lnTo>
                <a:lnTo>
                  <a:pt x="15989" y="5816"/>
                </a:lnTo>
                <a:lnTo>
                  <a:pt x="12230" y="6781"/>
                </a:lnTo>
                <a:lnTo>
                  <a:pt x="8470" y="5816"/>
                </a:lnTo>
                <a:lnTo>
                  <a:pt x="5651" y="4851"/>
                </a:lnTo>
                <a:close/>
              </a:path>
            </a:pathLst>
          </a:custGeom>
          <a:solidFill>
            <a:srgbClr val="8CB921"/>
          </a:solidFill>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67" name="object 117"/>
          <p:cNvSpPr/>
          <p:nvPr/>
        </p:nvSpPr>
        <p:spPr>
          <a:xfrm>
            <a:off x="7514327" y="5207268"/>
            <a:ext cx="230179" cy="175382"/>
          </a:xfrm>
          <a:custGeom>
            <a:avLst/>
            <a:gdLst/>
            <a:ahLst/>
            <a:cxnLst/>
            <a:rect l="l" t="t" r="r" b="b"/>
            <a:pathLst>
              <a:path w="154216" h="148259">
                <a:moveTo>
                  <a:pt x="16916" y="141465"/>
                </a:moveTo>
                <a:lnTo>
                  <a:pt x="21628" y="148259"/>
                </a:lnTo>
                <a:lnTo>
                  <a:pt x="22567" y="89141"/>
                </a:lnTo>
                <a:lnTo>
                  <a:pt x="24447" y="86245"/>
                </a:lnTo>
                <a:lnTo>
                  <a:pt x="25387" y="85280"/>
                </a:lnTo>
                <a:lnTo>
                  <a:pt x="30086" y="81394"/>
                </a:lnTo>
                <a:lnTo>
                  <a:pt x="35725" y="77520"/>
                </a:lnTo>
                <a:lnTo>
                  <a:pt x="37604" y="71704"/>
                </a:lnTo>
                <a:lnTo>
                  <a:pt x="39496" y="64922"/>
                </a:lnTo>
                <a:lnTo>
                  <a:pt x="37604" y="59118"/>
                </a:lnTo>
                <a:lnTo>
                  <a:pt x="35725" y="53301"/>
                </a:lnTo>
                <a:lnTo>
                  <a:pt x="35725" y="50393"/>
                </a:lnTo>
                <a:lnTo>
                  <a:pt x="34785" y="48450"/>
                </a:lnTo>
                <a:lnTo>
                  <a:pt x="51714" y="48450"/>
                </a:lnTo>
                <a:lnTo>
                  <a:pt x="57365" y="44576"/>
                </a:lnTo>
                <a:lnTo>
                  <a:pt x="62064" y="40703"/>
                </a:lnTo>
                <a:lnTo>
                  <a:pt x="64884" y="34886"/>
                </a:lnTo>
                <a:lnTo>
                  <a:pt x="66763" y="29070"/>
                </a:lnTo>
                <a:lnTo>
                  <a:pt x="67703" y="26161"/>
                </a:lnTo>
                <a:lnTo>
                  <a:pt x="71462" y="28105"/>
                </a:lnTo>
                <a:lnTo>
                  <a:pt x="72402" y="28105"/>
                </a:lnTo>
                <a:lnTo>
                  <a:pt x="77101" y="31978"/>
                </a:lnTo>
                <a:lnTo>
                  <a:pt x="81813" y="37795"/>
                </a:lnTo>
                <a:lnTo>
                  <a:pt x="94970" y="37795"/>
                </a:lnTo>
                <a:lnTo>
                  <a:pt x="100622" y="31978"/>
                </a:lnTo>
                <a:lnTo>
                  <a:pt x="105321" y="29070"/>
                </a:lnTo>
                <a:lnTo>
                  <a:pt x="108140" y="26161"/>
                </a:lnTo>
                <a:lnTo>
                  <a:pt x="110020" y="29070"/>
                </a:lnTo>
                <a:lnTo>
                  <a:pt x="111899" y="34886"/>
                </a:lnTo>
                <a:lnTo>
                  <a:pt x="114719" y="41668"/>
                </a:lnTo>
                <a:lnTo>
                  <a:pt x="119418" y="45542"/>
                </a:lnTo>
                <a:lnTo>
                  <a:pt x="125069" y="49428"/>
                </a:lnTo>
                <a:lnTo>
                  <a:pt x="140119" y="49428"/>
                </a:lnTo>
                <a:lnTo>
                  <a:pt x="141058" y="53301"/>
                </a:lnTo>
                <a:lnTo>
                  <a:pt x="140119" y="54267"/>
                </a:lnTo>
                <a:lnTo>
                  <a:pt x="138226" y="60083"/>
                </a:lnTo>
                <a:lnTo>
                  <a:pt x="136347" y="66865"/>
                </a:lnTo>
                <a:lnTo>
                  <a:pt x="138226" y="72682"/>
                </a:lnTo>
                <a:lnTo>
                  <a:pt x="140119" y="79463"/>
                </a:lnTo>
                <a:lnTo>
                  <a:pt x="145757" y="83337"/>
                </a:lnTo>
                <a:lnTo>
                  <a:pt x="150456" y="87210"/>
                </a:lnTo>
                <a:lnTo>
                  <a:pt x="153276" y="90119"/>
                </a:lnTo>
                <a:lnTo>
                  <a:pt x="154216" y="30048"/>
                </a:lnTo>
                <a:lnTo>
                  <a:pt x="144818" y="29070"/>
                </a:lnTo>
                <a:lnTo>
                  <a:pt x="133527" y="29070"/>
                </a:lnTo>
                <a:lnTo>
                  <a:pt x="130708" y="27139"/>
                </a:lnTo>
                <a:lnTo>
                  <a:pt x="129768" y="24231"/>
                </a:lnTo>
                <a:lnTo>
                  <a:pt x="129768" y="22288"/>
                </a:lnTo>
                <a:lnTo>
                  <a:pt x="126949" y="15506"/>
                </a:lnTo>
                <a:lnTo>
                  <a:pt x="124129" y="6794"/>
                </a:lnTo>
                <a:lnTo>
                  <a:pt x="115658" y="3886"/>
                </a:lnTo>
                <a:lnTo>
                  <a:pt x="107200" y="977"/>
                </a:lnTo>
                <a:lnTo>
                  <a:pt x="99682" y="5816"/>
                </a:lnTo>
                <a:lnTo>
                  <a:pt x="94030" y="9702"/>
                </a:lnTo>
                <a:lnTo>
                  <a:pt x="93090" y="11633"/>
                </a:lnTo>
                <a:lnTo>
                  <a:pt x="90271" y="12598"/>
                </a:lnTo>
                <a:lnTo>
                  <a:pt x="87452" y="12598"/>
                </a:lnTo>
                <a:lnTo>
                  <a:pt x="83692" y="9702"/>
                </a:lnTo>
                <a:lnTo>
                  <a:pt x="78041" y="5816"/>
                </a:lnTo>
                <a:lnTo>
                  <a:pt x="70523" y="0"/>
                </a:lnTo>
                <a:lnTo>
                  <a:pt x="62064" y="2908"/>
                </a:lnTo>
                <a:lnTo>
                  <a:pt x="53593" y="5816"/>
                </a:lnTo>
                <a:lnTo>
                  <a:pt x="49834" y="15506"/>
                </a:lnTo>
                <a:lnTo>
                  <a:pt x="47955" y="21323"/>
                </a:lnTo>
                <a:lnTo>
                  <a:pt x="47015" y="23253"/>
                </a:lnTo>
                <a:lnTo>
                  <a:pt x="46075" y="26161"/>
                </a:lnTo>
                <a:lnTo>
                  <a:pt x="44195" y="28105"/>
                </a:lnTo>
                <a:lnTo>
                  <a:pt x="23494" y="28105"/>
                </a:lnTo>
                <a:lnTo>
                  <a:pt x="17856" y="34886"/>
                </a:lnTo>
                <a:lnTo>
                  <a:pt x="14565" y="46857"/>
                </a:lnTo>
                <a:lnTo>
                  <a:pt x="16916" y="58140"/>
                </a:lnTo>
                <a:lnTo>
                  <a:pt x="16916" y="60083"/>
                </a:lnTo>
                <a:lnTo>
                  <a:pt x="17856" y="62991"/>
                </a:lnTo>
                <a:lnTo>
                  <a:pt x="16916" y="65887"/>
                </a:lnTo>
                <a:lnTo>
                  <a:pt x="13157" y="68808"/>
                </a:lnTo>
                <a:lnTo>
                  <a:pt x="8458" y="72682"/>
                </a:lnTo>
                <a:lnTo>
                  <a:pt x="939" y="78485"/>
                </a:lnTo>
                <a:lnTo>
                  <a:pt x="939" y="88176"/>
                </a:lnTo>
                <a:lnTo>
                  <a:pt x="0" y="96900"/>
                </a:lnTo>
                <a:lnTo>
                  <a:pt x="7518" y="102717"/>
                </a:lnTo>
                <a:lnTo>
                  <a:pt x="13157" y="106591"/>
                </a:lnTo>
                <a:lnTo>
                  <a:pt x="14096" y="108521"/>
                </a:lnTo>
                <a:lnTo>
                  <a:pt x="16916" y="110464"/>
                </a:lnTo>
                <a:lnTo>
                  <a:pt x="17856" y="112407"/>
                </a:lnTo>
                <a:lnTo>
                  <a:pt x="16916" y="116281"/>
                </a:lnTo>
                <a:lnTo>
                  <a:pt x="15976" y="118224"/>
                </a:lnTo>
                <a:lnTo>
                  <a:pt x="13628" y="129460"/>
                </a:lnTo>
                <a:lnTo>
                  <a:pt x="16916" y="141465"/>
                </a:lnTo>
                <a:close/>
              </a:path>
            </a:pathLst>
          </a:custGeom>
          <a:solidFill>
            <a:srgbClr val="8CB921"/>
          </a:solidFill>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68" name="object 118"/>
          <p:cNvSpPr/>
          <p:nvPr/>
        </p:nvSpPr>
        <p:spPr>
          <a:xfrm>
            <a:off x="7546608" y="5242813"/>
            <a:ext cx="228776" cy="174225"/>
          </a:xfrm>
          <a:custGeom>
            <a:avLst/>
            <a:gdLst/>
            <a:ahLst/>
            <a:cxnLst/>
            <a:rect l="l" t="t" r="r" b="b"/>
            <a:pathLst>
              <a:path w="153276" h="147281">
                <a:moveTo>
                  <a:pt x="139179" y="80416"/>
                </a:moveTo>
                <a:lnTo>
                  <a:pt x="140119" y="79451"/>
                </a:lnTo>
                <a:lnTo>
                  <a:pt x="145757" y="75577"/>
                </a:lnTo>
                <a:lnTo>
                  <a:pt x="153276" y="69761"/>
                </a:lnTo>
                <a:lnTo>
                  <a:pt x="153276" y="51346"/>
                </a:lnTo>
                <a:lnTo>
                  <a:pt x="146697" y="45529"/>
                </a:lnTo>
                <a:lnTo>
                  <a:pt x="141058" y="41655"/>
                </a:lnTo>
                <a:lnTo>
                  <a:pt x="137287" y="37782"/>
                </a:lnTo>
                <a:lnTo>
                  <a:pt x="136347" y="34874"/>
                </a:lnTo>
                <a:lnTo>
                  <a:pt x="137287" y="31965"/>
                </a:lnTo>
                <a:lnTo>
                  <a:pt x="138239" y="30035"/>
                </a:lnTo>
                <a:lnTo>
                  <a:pt x="140585" y="18795"/>
                </a:lnTo>
                <a:lnTo>
                  <a:pt x="137287" y="6781"/>
                </a:lnTo>
                <a:lnTo>
                  <a:pt x="132588" y="0"/>
                </a:lnTo>
                <a:lnTo>
                  <a:pt x="131648" y="60070"/>
                </a:lnTo>
                <a:lnTo>
                  <a:pt x="128828" y="62979"/>
                </a:lnTo>
                <a:lnTo>
                  <a:pt x="124129" y="66852"/>
                </a:lnTo>
                <a:lnTo>
                  <a:pt x="118491" y="70726"/>
                </a:lnTo>
                <a:lnTo>
                  <a:pt x="116598" y="76542"/>
                </a:lnTo>
                <a:lnTo>
                  <a:pt x="114719" y="83324"/>
                </a:lnTo>
                <a:lnTo>
                  <a:pt x="116598" y="89141"/>
                </a:lnTo>
                <a:lnTo>
                  <a:pt x="117538" y="94945"/>
                </a:lnTo>
                <a:lnTo>
                  <a:pt x="118491" y="97853"/>
                </a:lnTo>
                <a:lnTo>
                  <a:pt x="118491" y="99796"/>
                </a:lnTo>
                <a:lnTo>
                  <a:pt x="102501" y="99796"/>
                </a:lnTo>
                <a:lnTo>
                  <a:pt x="96850" y="103670"/>
                </a:lnTo>
                <a:lnTo>
                  <a:pt x="91211" y="107543"/>
                </a:lnTo>
                <a:lnTo>
                  <a:pt x="89331" y="113360"/>
                </a:lnTo>
                <a:lnTo>
                  <a:pt x="87452" y="119176"/>
                </a:lnTo>
                <a:lnTo>
                  <a:pt x="86512" y="122072"/>
                </a:lnTo>
                <a:lnTo>
                  <a:pt x="82753" y="120141"/>
                </a:lnTo>
                <a:lnTo>
                  <a:pt x="81813" y="120141"/>
                </a:lnTo>
                <a:lnTo>
                  <a:pt x="77114" y="116268"/>
                </a:lnTo>
                <a:lnTo>
                  <a:pt x="71462" y="110451"/>
                </a:lnTo>
                <a:lnTo>
                  <a:pt x="58293" y="110451"/>
                </a:lnTo>
                <a:lnTo>
                  <a:pt x="53594" y="116268"/>
                </a:lnTo>
                <a:lnTo>
                  <a:pt x="48895" y="119176"/>
                </a:lnTo>
                <a:lnTo>
                  <a:pt x="46075" y="122072"/>
                </a:lnTo>
                <a:lnTo>
                  <a:pt x="43256" y="119176"/>
                </a:lnTo>
                <a:lnTo>
                  <a:pt x="41376" y="113360"/>
                </a:lnTo>
                <a:lnTo>
                  <a:pt x="39484" y="106578"/>
                </a:lnTo>
                <a:lnTo>
                  <a:pt x="33845" y="102704"/>
                </a:lnTo>
                <a:lnTo>
                  <a:pt x="29146" y="98831"/>
                </a:lnTo>
                <a:lnTo>
                  <a:pt x="14097" y="98831"/>
                </a:lnTo>
                <a:lnTo>
                  <a:pt x="13157" y="94945"/>
                </a:lnTo>
                <a:lnTo>
                  <a:pt x="13157" y="93979"/>
                </a:lnTo>
                <a:lnTo>
                  <a:pt x="15036" y="88176"/>
                </a:lnTo>
                <a:lnTo>
                  <a:pt x="16929" y="81381"/>
                </a:lnTo>
                <a:lnTo>
                  <a:pt x="15036" y="75577"/>
                </a:lnTo>
                <a:lnTo>
                  <a:pt x="13157" y="68783"/>
                </a:lnTo>
                <a:lnTo>
                  <a:pt x="8458" y="64909"/>
                </a:lnTo>
                <a:lnTo>
                  <a:pt x="3759" y="61036"/>
                </a:lnTo>
                <a:lnTo>
                  <a:pt x="939" y="59093"/>
                </a:lnTo>
                <a:lnTo>
                  <a:pt x="0" y="118211"/>
                </a:lnTo>
                <a:lnTo>
                  <a:pt x="9398" y="119176"/>
                </a:lnTo>
                <a:lnTo>
                  <a:pt x="20688" y="119176"/>
                </a:lnTo>
                <a:lnTo>
                  <a:pt x="22567" y="121107"/>
                </a:lnTo>
                <a:lnTo>
                  <a:pt x="23507" y="124015"/>
                </a:lnTo>
                <a:lnTo>
                  <a:pt x="24447" y="125958"/>
                </a:lnTo>
                <a:lnTo>
                  <a:pt x="26327" y="132740"/>
                </a:lnTo>
                <a:lnTo>
                  <a:pt x="29146" y="141465"/>
                </a:lnTo>
                <a:lnTo>
                  <a:pt x="37604" y="144373"/>
                </a:lnTo>
                <a:lnTo>
                  <a:pt x="46075" y="147281"/>
                </a:lnTo>
                <a:lnTo>
                  <a:pt x="53594" y="142430"/>
                </a:lnTo>
                <a:lnTo>
                  <a:pt x="59245" y="138556"/>
                </a:lnTo>
                <a:lnTo>
                  <a:pt x="61125" y="136613"/>
                </a:lnTo>
                <a:lnTo>
                  <a:pt x="63944" y="135648"/>
                </a:lnTo>
                <a:lnTo>
                  <a:pt x="66763" y="135648"/>
                </a:lnTo>
                <a:lnTo>
                  <a:pt x="70523" y="138556"/>
                </a:lnTo>
                <a:lnTo>
                  <a:pt x="74282" y="141465"/>
                </a:lnTo>
                <a:lnTo>
                  <a:pt x="80873" y="145338"/>
                </a:lnTo>
                <a:lnTo>
                  <a:pt x="92151" y="145338"/>
                </a:lnTo>
                <a:lnTo>
                  <a:pt x="100609" y="142430"/>
                </a:lnTo>
                <a:lnTo>
                  <a:pt x="103441" y="132740"/>
                </a:lnTo>
                <a:lnTo>
                  <a:pt x="106260" y="126923"/>
                </a:lnTo>
                <a:lnTo>
                  <a:pt x="107200" y="124993"/>
                </a:lnTo>
                <a:lnTo>
                  <a:pt x="108140" y="122072"/>
                </a:lnTo>
                <a:lnTo>
                  <a:pt x="110020" y="120141"/>
                </a:lnTo>
                <a:lnTo>
                  <a:pt x="130708" y="120141"/>
                </a:lnTo>
                <a:lnTo>
                  <a:pt x="136347" y="113360"/>
                </a:lnTo>
                <a:lnTo>
                  <a:pt x="141058" y="105613"/>
                </a:lnTo>
                <a:lnTo>
                  <a:pt x="139179" y="96888"/>
                </a:lnTo>
                <a:lnTo>
                  <a:pt x="137287" y="90106"/>
                </a:lnTo>
                <a:lnTo>
                  <a:pt x="136347" y="88176"/>
                </a:lnTo>
                <a:lnTo>
                  <a:pt x="135407" y="85267"/>
                </a:lnTo>
                <a:lnTo>
                  <a:pt x="136347" y="82359"/>
                </a:lnTo>
                <a:lnTo>
                  <a:pt x="139179" y="80416"/>
                </a:lnTo>
                <a:close/>
              </a:path>
            </a:pathLst>
          </a:custGeom>
          <a:solidFill>
            <a:srgbClr val="8CB921"/>
          </a:solidFill>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69" name="object 119"/>
          <p:cNvSpPr/>
          <p:nvPr/>
        </p:nvSpPr>
        <p:spPr>
          <a:xfrm>
            <a:off x="7320619" y="5398696"/>
            <a:ext cx="74381" cy="159322"/>
          </a:xfrm>
          <a:custGeom>
            <a:avLst/>
            <a:gdLst/>
            <a:ahLst/>
            <a:cxnLst/>
            <a:rect l="l" t="t" r="r" b="b"/>
            <a:pathLst>
              <a:path w="49834" h="134683">
                <a:moveTo>
                  <a:pt x="33858" y="97853"/>
                </a:moveTo>
                <a:lnTo>
                  <a:pt x="34797" y="96888"/>
                </a:lnTo>
                <a:lnTo>
                  <a:pt x="36677" y="91084"/>
                </a:lnTo>
                <a:lnTo>
                  <a:pt x="38557" y="84289"/>
                </a:lnTo>
                <a:lnTo>
                  <a:pt x="36677" y="77508"/>
                </a:lnTo>
                <a:lnTo>
                  <a:pt x="34797" y="71691"/>
                </a:lnTo>
                <a:lnTo>
                  <a:pt x="29159" y="66852"/>
                </a:lnTo>
                <a:lnTo>
                  <a:pt x="24447" y="62979"/>
                </a:lnTo>
                <a:lnTo>
                  <a:pt x="21628" y="61036"/>
                </a:lnTo>
                <a:lnTo>
                  <a:pt x="24447" y="58140"/>
                </a:lnTo>
                <a:lnTo>
                  <a:pt x="29159" y="54254"/>
                </a:lnTo>
                <a:lnTo>
                  <a:pt x="34797" y="50380"/>
                </a:lnTo>
                <a:lnTo>
                  <a:pt x="36677" y="44564"/>
                </a:lnTo>
                <a:lnTo>
                  <a:pt x="38557" y="37782"/>
                </a:lnTo>
                <a:lnTo>
                  <a:pt x="36677" y="31000"/>
                </a:lnTo>
                <a:lnTo>
                  <a:pt x="35737" y="25184"/>
                </a:lnTo>
                <a:lnTo>
                  <a:pt x="34797" y="22288"/>
                </a:lnTo>
                <a:lnTo>
                  <a:pt x="34797" y="21310"/>
                </a:lnTo>
                <a:lnTo>
                  <a:pt x="31965" y="0"/>
                </a:lnTo>
                <a:lnTo>
                  <a:pt x="22567" y="965"/>
                </a:lnTo>
                <a:lnTo>
                  <a:pt x="16929" y="7746"/>
                </a:lnTo>
                <a:lnTo>
                  <a:pt x="12230" y="15506"/>
                </a:lnTo>
                <a:lnTo>
                  <a:pt x="14109" y="24218"/>
                </a:lnTo>
                <a:lnTo>
                  <a:pt x="15989" y="31000"/>
                </a:lnTo>
                <a:lnTo>
                  <a:pt x="16929" y="32943"/>
                </a:lnTo>
                <a:lnTo>
                  <a:pt x="17868" y="35852"/>
                </a:lnTo>
                <a:lnTo>
                  <a:pt x="16929" y="38747"/>
                </a:lnTo>
                <a:lnTo>
                  <a:pt x="14109" y="40690"/>
                </a:lnTo>
                <a:lnTo>
                  <a:pt x="13169" y="41655"/>
                </a:lnTo>
                <a:lnTo>
                  <a:pt x="7518" y="45542"/>
                </a:lnTo>
                <a:lnTo>
                  <a:pt x="0" y="51346"/>
                </a:lnTo>
                <a:lnTo>
                  <a:pt x="0" y="69761"/>
                </a:lnTo>
                <a:lnTo>
                  <a:pt x="6578" y="75577"/>
                </a:lnTo>
                <a:lnTo>
                  <a:pt x="12230" y="79451"/>
                </a:lnTo>
                <a:lnTo>
                  <a:pt x="14109" y="81381"/>
                </a:lnTo>
                <a:lnTo>
                  <a:pt x="16929" y="83324"/>
                </a:lnTo>
                <a:lnTo>
                  <a:pt x="16929" y="85267"/>
                </a:lnTo>
                <a:lnTo>
                  <a:pt x="15989" y="88176"/>
                </a:lnTo>
                <a:lnTo>
                  <a:pt x="15049" y="91084"/>
                </a:lnTo>
                <a:lnTo>
                  <a:pt x="13169" y="97853"/>
                </a:lnTo>
                <a:lnTo>
                  <a:pt x="10350" y="106578"/>
                </a:lnTo>
                <a:lnTo>
                  <a:pt x="15989" y="113360"/>
                </a:lnTo>
                <a:lnTo>
                  <a:pt x="20688" y="121119"/>
                </a:lnTo>
                <a:lnTo>
                  <a:pt x="30098" y="121119"/>
                </a:lnTo>
                <a:lnTo>
                  <a:pt x="36677" y="122085"/>
                </a:lnTo>
                <a:lnTo>
                  <a:pt x="43256" y="122085"/>
                </a:lnTo>
                <a:lnTo>
                  <a:pt x="44195" y="124028"/>
                </a:lnTo>
                <a:lnTo>
                  <a:pt x="45135" y="126923"/>
                </a:lnTo>
                <a:lnTo>
                  <a:pt x="45135" y="127901"/>
                </a:lnTo>
                <a:lnTo>
                  <a:pt x="47955" y="134683"/>
                </a:lnTo>
                <a:lnTo>
                  <a:pt x="49834" y="101739"/>
                </a:lnTo>
                <a:lnTo>
                  <a:pt x="43256" y="101739"/>
                </a:lnTo>
                <a:lnTo>
                  <a:pt x="37617" y="100761"/>
                </a:lnTo>
                <a:lnTo>
                  <a:pt x="33858" y="100761"/>
                </a:lnTo>
                <a:lnTo>
                  <a:pt x="33858" y="97853"/>
                </a:lnTo>
                <a:close/>
              </a:path>
            </a:pathLst>
          </a:custGeom>
          <a:solidFill>
            <a:srgbClr val="8CB921"/>
          </a:solidFill>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70" name="object 120"/>
          <p:cNvSpPr/>
          <p:nvPr/>
        </p:nvSpPr>
        <p:spPr>
          <a:xfrm>
            <a:off x="7368329" y="5366606"/>
            <a:ext cx="213366" cy="209741"/>
          </a:xfrm>
          <a:custGeom>
            <a:avLst/>
            <a:gdLst/>
            <a:ahLst/>
            <a:cxnLst/>
            <a:rect l="l" t="t" r="r" b="b"/>
            <a:pathLst>
              <a:path w="142951" h="177304">
                <a:moveTo>
                  <a:pt x="23520" y="132740"/>
                </a:moveTo>
                <a:lnTo>
                  <a:pt x="17868" y="128866"/>
                </a:lnTo>
                <a:lnTo>
                  <a:pt x="15989" y="161810"/>
                </a:lnTo>
                <a:lnTo>
                  <a:pt x="18808" y="170522"/>
                </a:lnTo>
                <a:lnTo>
                  <a:pt x="27279" y="174409"/>
                </a:lnTo>
                <a:lnTo>
                  <a:pt x="35737" y="177304"/>
                </a:lnTo>
                <a:lnTo>
                  <a:pt x="43268" y="171500"/>
                </a:lnTo>
                <a:lnTo>
                  <a:pt x="48907" y="167627"/>
                </a:lnTo>
                <a:lnTo>
                  <a:pt x="49847" y="166649"/>
                </a:lnTo>
                <a:lnTo>
                  <a:pt x="52666" y="164718"/>
                </a:lnTo>
                <a:lnTo>
                  <a:pt x="55486" y="164718"/>
                </a:lnTo>
                <a:lnTo>
                  <a:pt x="59258" y="167627"/>
                </a:lnTo>
                <a:lnTo>
                  <a:pt x="63957" y="171500"/>
                </a:lnTo>
                <a:lnTo>
                  <a:pt x="69595" y="175374"/>
                </a:lnTo>
                <a:lnTo>
                  <a:pt x="79006" y="175374"/>
                </a:lnTo>
                <a:lnTo>
                  <a:pt x="80886" y="174409"/>
                </a:lnTo>
                <a:lnTo>
                  <a:pt x="89344" y="171500"/>
                </a:lnTo>
                <a:lnTo>
                  <a:pt x="93103" y="162775"/>
                </a:lnTo>
                <a:lnTo>
                  <a:pt x="94983" y="155994"/>
                </a:lnTo>
                <a:lnTo>
                  <a:pt x="96862" y="152120"/>
                </a:lnTo>
                <a:lnTo>
                  <a:pt x="97815" y="150177"/>
                </a:lnTo>
                <a:lnTo>
                  <a:pt x="119443" y="150177"/>
                </a:lnTo>
                <a:lnTo>
                  <a:pt x="125082" y="142430"/>
                </a:lnTo>
                <a:lnTo>
                  <a:pt x="128372" y="130826"/>
                </a:lnTo>
                <a:lnTo>
                  <a:pt x="126022" y="119176"/>
                </a:lnTo>
                <a:lnTo>
                  <a:pt x="126022" y="117233"/>
                </a:lnTo>
                <a:lnTo>
                  <a:pt x="125082" y="114325"/>
                </a:lnTo>
                <a:lnTo>
                  <a:pt x="127901" y="110451"/>
                </a:lnTo>
                <a:lnTo>
                  <a:pt x="129781" y="109486"/>
                </a:lnTo>
                <a:lnTo>
                  <a:pt x="134480" y="104635"/>
                </a:lnTo>
                <a:lnTo>
                  <a:pt x="142011" y="99796"/>
                </a:lnTo>
                <a:lnTo>
                  <a:pt x="142011" y="90106"/>
                </a:lnTo>
                <a:lnTo>
                  <a:pt x="142951" y="81381"/>
                </a:lnTo>
                <a:lnTo>
                  <a:pt x="135420" y="75577"/>
                </a:lnTo>
                <a:lnTo>
                  <a:pt x="129781" y="70726"/>
                </a:lnTo>
                <a:lnTo>
                  <a:pt x="128841" y="69761"/>
                </a:lnTo>
                <a:lnTo>
                  <a:pt x="126022" y="67817"/>
                </a:lnTo>
                <a:lnTo>
                  <a:pt x="125082" y="64909"/>
                </a:lnTo>
                <a:lnTo>
                  <a:pt x="126022" y="62001"/>
                </a:lnTo>
                <a:lnTo>
                  <a:pt x="126961" y="60070"/>
                </a:lnTo>
                <a:lnTo>
                  <a:pt x="129310" y="48828"/>
                </a:lnTo>
                <a:lnTo>
                  <a:pt x="126022" y="36817"/>
                </a:lnTo>
                <a:lnTo>
                  <a:pt x="121310" y="29057"/>
                </a:lnTo>
                <a:lnTo>
                  <a:pt x="103454" y="29057"/>
                </a:lnTo>
                <a:lnTo>
                  <a:pt x="100634" y="28092"/>
                </a:lnTo>
                <a:lnTo>
                  <a:pt x="98755" y="27127"/>
                </a:lnTo>
                <a:lnTo>
                  <a:pt x="97815" y="24218"/>
                </a:lnTo>
                <a:lnTo>
                  <a:pt x="96862" y="22275"/>
                </a:lnTo>
                <a:lnTo>
                  <a:pt x="94983" y="15493"/>
                </a:lnTo>
                <a:lnTo>
                  <a:pt x="92163" y="6769"/>
                </a:lnTo>
                <a:lnTo>
                  <a:pt x="83705" y="3873"/>
                </a:lnTo>
                <a:lnTo>
                  <a:pt x="75234" y="965"/>
                </a:lnTo>
                <a:lnTo>
                  <a:pt x="66776" y="5803"/>
                </a:lnTo>
                <a:lnTo>
                  <a:pt x="62077" y="9677"/>
                </a:lnTo>
                <a:lnTo>
                  <a:pt x="60197" y="10655"/>
                </a:lnTo>
                <a:lnTo>
                  <a:pt x="57365" y="12585"/>
                </a:lnTo>
                <a:lnTo>
                  <a:pt x="54546" y="12585"/>
                </a:lnTo>
                <a:lnTo>
                  <a:pt x="50787" y="9677"/>
                </a:lnTo>
                <a:lnTo>
                  <a:pt x="46088" y="5803"/>
                </a:lnTo>
                <a:lnTo>
                  <a:pt x="37630" y="0"/>
                </a:lnTo>
                <a:lnTo>
                  <a:pt x="29159" y="2895"/>
                </a:lnTo>
                <a:lnTo>
                  <a:pt x="20700" y="5803"/>
                </a:lnTo>
                <a:lnTo>
                  <a:pt x="17868" y="14528"/>
                </a:lnTo>
                <a:lnTo>
                  <a:pt x="15049" y="21310"/>
                </a:lnTo>
                <a:lnTo>
                  <a:pt x="14109" y="23240"/>
                </a:lnTo>
                <a:lnTo>
                  <a:pt x="13169" y="26149"/>
                </a:lnTo>
                <a:lnTo>
                  <a:pt x="13169" y="27127"/>
                </a:lnTo>
                <a:lnTo>
                  <a:pt x="0" y="27127"/>
                </a:lnTo>
                <a:lnTo>
                  <a:pt x="2832" y="48437"/>
                </a:lnTo>
                <a:lnTo>
                  <a:pt x="18808" y="48437"/>
                </a:lnTo>
                <a:lnTo>
                  <a:pt x="24460" y="44564"/>
                </a:lnTo>
                <a:lnTo>
                  <a:pt x="30098" y="40690"/>
                </a:lnTo>
                <a:lnTo>
                  <a:pt x="31978" y="33908"/>
                </a:lnTo>
                <a:lnTo>
                  <a:pt x="33870" y="29057"/>
                </a:lnTo>
                <a:lnTo>
                  <a:pt x="34797" y="26149"/>
                </a:lnTo>
                <a:lnTo>
                  <a:pt x="38569" y="27127"/>
                </a:lnTo>
                <a:lnTo>
                  <a:pt x="39509" y="28092"/>
                </a:lnTo>
                <a:lnTo>
                  <a:pt x="44208" y="31965"/>
                </a:lnTo>
                <a:lnTo>
                  <a:pt x="49847" y="36817"/>
                </a:lnTo>
                <a:lnTo>
                  <a:pt x="63017" y="36817"/>
                </a:lnTo>
                <a:lnTo>
                  <a:pt x="67716" y="31965"/>
                </a:lnTo>
                <a:lnTo>
                  <a:pt x="72415" y="28092"/>
                </a:lnTo>
                <a:lnTo>
                  <a:pt x="73355" y="28092"/>
                </a:lnTo>
                <a:lnTo>
                  <a:pt x="75234" y="25184"/>
                </a:lnTo>
                <a:lnTo>
                  <a:pt x="77127" y="28092"/>
                </a:lnTo>
                <a:lnTo>
                  <a:pt x="78054" y="29057"/>
                </a:lnTo>
                <a:lnTo>
                  <a:pt x="79946" y="34874"/>
                </a:lnTo>
                <a:lnTo>
                  <a:pt x="81826" y="40690"/>
                </a:lnTo>
                <a:lnTo>
                  <a:pt x="87464" y="44564"/>
                </a:lnTo>
                <a:lnTo>
                  <a:pt x="92163" y="48437"/>
                </a:lnTo>
                <a:lnTo>
                  <a:pt x="98755" y="49415"/>
                </a:lnTo>
                <a:lnTo>
                  <a:pt x="109092" y="49415"/>
                </a:lnTo>
                <a:lnTo>
                  <a:pt x="108153" y="52311"/>
                </a:lnTo>
                <a:lnTo>
                  <a:pt x="108153" y="53289"/>
                </a:lnTo>
                <a:lnTo>
                  <a:pt x="106273" y="59093"/>
                </a:lnTo>
                <a:lnTo>
                  <a:pt x="104393" y="65874"/>
                </a:lnTo>
                <a:lnTo>
                  <a:pt x="106273" y="72669"/>
                </a:lnTo>
                <a:lnTo>
                  <a:pt x="108153" y="79451"/>
                </a:lnTo>
                <a:lnTo>
                  <a:pt x="112852" y="83324"/>
                </a:lnTo>
                <a:lnTo>
                  <a:pt x="117551" y="87198"/>
                </a:lnTo>
                <a:lnTo>
                  <a:pt x="120383" y="89128"/>
                </a:lnTo>
                <a:lnTo>
                  <a:pt x="118503" y="92036"/>
                </a:lnTo>
                <a:lnTo>
                  <a:pt x="117551" y="93014"/>
                </a:lnTo>
                <a:lnTo>
                  <a:pt x="112852" y="95923"/>
                </a:lnTo>
                <a:lnTo>
                  <a:pt x="107213" y="99796"/>
                </a:lnTo>
                <a:lnTo>
                  <a:pt x="105333" y="106578"/>
                </a:lnTo>
                <a:lnTo>
                  <a:pt x="103454" y="112394"/>
                </a:lnTo>
                <a:lnTo>
                  <a:pt x="105333" y="119176"/>
                </a:lnTo>
                <a:lnTo>
                  <a:pt x="107213" y="124980"/>
                </a:lnTo>
                <a:lnTo>
                  <a:pt x="107213" y="127888"/>
                </a:lnTo>
                <a:lnTo>
                  <a:pt x="104393" y="129832"/>
                </a:lnTo>
                <a:lnTo>
                  <a:pt x="91224" y="129832"/>
                </a:lnTo>
                <a:lnTo>
                  <a:pt x="85585" y="133705"/>
                </a:lnTo>
                <a:lnTo>
                  <a:pt x="80886" y="137579"/>
                </a:lnTo>
                <a:lnTo>
                  <a:pt x="78054" y="143395"/>
                </a:lnTo>
                <a:lnTo>
                  <a:pt x="76187" y="149212"/>
                </a:lnTo>
                <a:lnTo>
                  <a:pt x="74294" y="153085"/>
                </a:lnTo>
                <a:lnTo>
                  <a:pt x="71475" y="150177"/>
                </a:lnTo>
                <a:lnTo>
                  <a:pt x="70535" y="149212"/>
                </a:lnTo>
                <a:lnTo>
                  <a:pt x="65836" y="146303"/>
                </a:lnTo>
                <a:lnTo>
                  <a:pt x="61137" y="140487"/>
                </a:lnTo>
                <a:lnTo>
                  <a:pt x="47967" y="140487"/>
                </a:lnTo>
                <a:lnTo>
                  <a:pt x="42329" y="145338"/>
                </a:lnTo>
                <a:lnTo>
                  <a:pt x="37630" y="149212"/>
                </a:lnTo>
                <a:lnTo>
                  <a:pt x="34797" y="152120"/>
                </a:lnTo>
                <a:lnTo>
                  <a:pt x="32918" y="149212"/>
                </a:lnTo>
                <a:lnTo>
                  <a:pt x="31038" y="143395"/>
                </a:lnTo>
                <a:lnTo>
                  <a:pt x="28219" y="136613"/>
                </a:lnTo>
                <a:lnTo>
                  <a:pt x="23520" y="132740"/>
                </a:lnTo>
                <a:close/>
              </a:path>
            </a:pathLst>
          </a:custGeom>
          <a:solidFill>
            <a:srgbClr val="8CB921"/>
          </a:solidFill>
        </p:spPr>
        <p:txBody>
          <a:bodyPr wrap="square" lIns="0" tIns="0" rIns="0" bIns="0" rtlCol="0">
            <a:noAutofit/>
          </a:bodyPr>
          <a:lstStyle/>
          <a:p>
            <a:pPr algn="l" fontAlgn="auto">
              <a:spcBef>
                <a:spcPts val="0"/>
              </a:spcBef>
              <a:spcAft>
                <a:spcPts val="0"/>
              </a:spcAft>
            </a:pPr>
            <a:endParaRPr sz="1800" b="0">
              <a:solidFill>
                <a:schemeClr val="bg1"/>
              </a:solidFill>
              <a:latin typeface="Verdana"/>
              <a:cs typeface="+mn-cs"/>
            </a:endParaRPr>
          </a:p>
        </p:txBody>
      </p:sp>
      <p:sp>
        <p:nvSpPr>
          <p:cNvPr id="71" name="object 108"/>
          <p:cNvSpPr txBox="1"/>
          <p:nvPr/>
        </p:nvSpPr>
        <p:spPr>
          <a:xfrm>
            <a:off x="6411201" y="3804169"/>
            <a:ext cx="4284607" cy="287664"/>
          </a:xfrm>
          <a:prstGeom prst="rect">
            <a:avLst/>
          </a:prstGeom>
        </p:spPr>
        <p:txBody>
          <a:bodyPr wrap="square" lIns="0" tIns="0" rIns="0" bIns="0" rtlCol="0">
            <a:noAutofit/>
          </a:bodyPr>
          <a:lstStyle/>
          <a:p>
            <a:pPr marL="12700" marR="9351" algn="l" fontAlgn="auto">
              <a:lnSpc>
                <a:spcPts val="1015"/>
              </a:lnSpc>
              <a:spcBef>
                <a:spcPts val="50"/>
              </a:spcBef>
              <a:spcAft>
                <a:spcPts val="0"/>
              </a:spcAft>
            </a:pPr>
            <a:r>
              <a:rPr lang="en-US" sz="1600" spc="-9" dirty="0" smtClean="0">
                <a:solidFill>
                  <a:schemeClr val="bg1"/>
                </a:solidFill>
                <a:latin typeface="Verdana"/>
                <a:cs typeface="Open Sans"/>
              </a:rPr>
              <a:t>Framework</a:t>
            </a:r>
            <a:endParaRPr sz="1400" b="0" spc="-9" dirty="0">
              <a:solidFill>
                <a:schemeClr val="bg1"/>
              </a:solidFill>
              <a:latin typeface="Verdana"/>
              <a:cs typeface="Open Sans"/>
            </a:endParaRPr>
          </a:p>
        </p:txBody>
      </p:sp>
      <p:sp>
        <p:nvSpPr>
          <p:cNvPr id="72" name="object 106"/>
          <p:cNvSpPr txBox="1"/>
          <p:nvPr/>
        </p:nvSpPr>
        <p:spPr>
          <a:xfrm>
            <a:off x="3317911" y="5772560"/>
            <a:ext cx="1739484" cy="341864"/>
          </a:xfrm>
          <a:prstGeom prst="rect">
            <a:avLst/>
          </a:prstGeom>
        </p:spPr>
        <p:txBody>
          <a:bodyPr wrap="square" lIns="0" tIns="0" rIns="0" bIns="0" rtlCol="0">
            <a:noAutofit/>
          </a:bodyPr>
          <a:lstStyle/>
          <a:p>
            <a:pPr marL="12700" marR="9351" algn="l" fontAlgn="auto">
              <a:lnSpc>
                <a:spcPts val="1015"/>
              </a:lnSpc>
              <a:spcBef>
                <a:spcPts val="50"/>
              </a:spcBef>
              <a:spcAft>
                <a:spcPts val="0"/>
              </a:spcAft>
            </a:pPr>
            <a:r>
              <a:rPr sz="1600" spc="-9" dirty="0">
                <a:solidFill>
                  <a:schemeClr val="bg1"/>
                </a:solidFill>
                <a:latin typeface="Verdana"/>
                <a:cs typeface="Open Sans"/>
              </a:rPr>
              <a:t>Secure</a:t>
            </a:r>
          </a:p>
        </p:txBody>
      </p:sp>
      <p:sp>
        <p:nvSpPr>
          <p:cNvPr id="88" name="object 105"/>
          <p:cNvSpPr txBox="1"/>
          <p:nvPr/>
        </p:nvSpPr>
        <p:spPr>
          <a:xfrm>
            <a:off x="7238957" y="5796337"/>
            <a:ext cx="1550506" cy="878988"/>
          </a:xfrm>
          <a:prstGeom prst="rect">
            <a:avLst/>
          </a:prstGeom>
        </p:spPr>
        <p:txBody>
          <a:bodyPr wrap="square" lIns="0" tIns="0" rIns="0" bIns="0" rtlCol="0">
            <a:noAutofit/>
          </a:bodyPr>
          <a:lstStyle/>
          <a:p>
            <a:pPr marL="12700" marR="9351" algn="l" fontAlgn="auto">
              <a:lnSpc>
                <a:spcPts val="1015"/>
              </a:lnSpc>
              <a:spcBef>
                <a:spcPts val="50"/>
              </a:spcBef>
              <a:spcAft>
                <a:spcPts val="0"/>
              </a:spcAft>
            </a:pPr>
            <a:r>
              <a:rPr sz="1600" spc="-9" dirty="0">
                <a:solidFill>
                  <a:schemeClr val="bg1"/>
                </a:solidFill>
                <a:latin typeface="Verdana"/>
                <a:cs typeface="Open Sans"/>
              </a:rPr>
              <a:t>Resilient</a:t>
            </a:r>
          </a:p>
        </p:txBody>
      </p:sp>
      <p:sp>
        <p:nvSpPr>
          <p:cNvPr id="89" name="object 103"/>
          <p:cNvSpPr txBox="1"/>
          <p:nvPr/>
        </p:nvSpPr>
        <p:spPr>
          <a:xfrm>
            <a:off x="5176884" y="6380841"/>
            <a:ext cx="1667337" cy="878988"/>
          </a:xfrm>
          <a:prstGeom prst="rect">
            <a:avLst/>
          </a:prstGeom>
        </p:spPr>
        <p:txBody>
          <a:bodyPr wrap="square" lIns="0" tIns="0" rIns="0" bIns="0" rtlCol="0">
            <a:noAutofit/>
          </a:bodyPr>
          <a:lstStyle/>
          <a:p>
            <a:pPr marL="12700" marR="9351" algn="l" fontAlgn="auto">
              <a:lnSpc>
                <a:spcPts val="1015"/>
              </a:lnSpc>
              <a:spcBef>
                <a:spcPts val="50"/>
              </a:spcBef>
              <a:spcAft>
                <a:spcPts val="0"/>
              </a:spcAft>
            </a:pPr>
            <a:r>
              <a:rPr sz="1600" spc="-9" dirty="0">
                <a:solidFill>
                  <a:schemeClr val="bg1"/>
                </a:solidFill>
                <a:latin typeface="Verdana"/>
                <a:cs typeface="Open Sans"/>
              </a:rPr>
              <a:t>Vigilant</a:t>
            </a:r>
          </a:p>
          <a:p>
            <a:pPr marL="12700" algn="l" fontAlgn="auto">
              <a:lnSpc>
                <a:spcPct val="117683"/>
              </a:lnSpc>
              <a:spcBef>
                <a:spcPts val="0"/>
              </a:spcBef>
              <a:spcAft>
                <a:spcPts val="0"/>
              </a:spcAft>
            </a:pPr>
            <a:endParaRPr sz="1000" b="0" dirty="0">
              <a:solidFill>
                <a:schemeClr val="bg1"/>
              </a:solidFill>
              <a:latin typeface="Verdana"/>
              <a:cs typeface="Open Sans"/>
            </a:endParaRPr>
          </a:p>
        </p:txBody>
      </p:sp>
      <p:grpSp>
        <p:nvGrpSpPr>
          <p:cNvPr id="90" name="Group 432"/>
          <p:cNvGrpSpPr>
            <a:grpSpLocks noChangeAspect="1"/>
          </p:cNvGrpSpPr>
          <p:nvPr/>
        </p:nvGrpSpPr>
        <p:grpSpPr bwMode="auto">
          <a:xfrm>
            <a:off x="5521611" y="2657029"/>
            <a:ext cx="613439" cy="615243"/>
            <a:chOff x="3505" y="1546"/>
            <a:chExt cx="340" cy="341"/>
          </a:xfrm>
          <a:solidFill>
            <a:schemeClr val="accent5"/>
          </a:solidFill>
        </p:grpSpPr>
        <p:sp>
          <p:nvSpPr>
            <p:cNvPr id="91"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 name="Rectangle 10"/>
          <p:cNvSpPr/>
          <p:nvPr/>
        </p:nvSpPr>
        <p:spPr>
          <a:xfrm>
            <a:off x="6226850" y="2674043"/>
            <a:ext cx="6400800" cy="231089"/>
          </a:xfrm>
          <a:prstGeom prst="rect">
            <a:avLst/>
          </a:prstGeom>
        </p:spPr>
        <p:txBody>
          <a:bodyPr>
            <a:spAutoFit/>
          </a:bodyPr>
          <a:lstStyle/>
          <a:p>
            <a:pPr marL="12700" marR="9351" algn="l" fontAlgn="auto">
              <a:lnSpc>
                <a:spcPts val="1015"/>
              </a:lnSpc>
              <a:spcBef>
                <a:spcPts val="50"/>
              </a:spcBef>
              <a:spcAft>
                <a:spcPts val="0"/>
              </a:spcAft>
            </a:pPr>
            <a:r>
              <a:rPr lang="en-US" sz="1600" spc="-9" dirty="0" smtClean="0">
                <a:solidFill>
                  <a:schemeClr val="bg1"/>
                </a:solidFill>
                <a:latin typeface="Verdana"/>
                <a:cs typeface="Open Sans"/>
              </a:rPr>
              <a:t>Cyber Strategy</a:t>
            </a:r>
            <a:endParaRPr lang="en-US" sz="1600" b="0" dirty="0">
              <a:solidFill>
                <a:schemeClr val="bg1"/>
              </a:solidFill>
              <a:latin typeface="Verdana"/>
              <a:cs typeface="Open Sans"/>
            </a:endParaRPr>
          </a:p>
        </p:txBody>
      </p:sp>
      <p:sp>
        <p:nvSpPr>
          <p:cNvPr id="13" name="Cloud Callout 12"/>
          <p:cNvSpPr/>
          <p:nvPr/>
        </p:nvSpPr>
        <p:spPr>
          <a:xfrm>
            <a:off x="8703350" y="1711478"/>
            <a:ext cx="2980650" cy="1437829"/>
          </a:xfrm>
          <a:prstGeom prst="cloudCallout">
            <a:avLst>
              <a:gd name="adj1" fmla="val -63551"/>
              <a:gd name="adj2" fmla="val 23636"/>
            </a:avLst>
          </a:prstGeom>
          <a:solidFill>
            <a:srgbClr val="00B0F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marL="12700" algn="l" fontAlgn="auto">
              <a:lnSpc>
                <a:spcPct val="117683"/>
              </a:lnSpc>
              <a:spcBef>
                <a:spcPts val="0"/>
              </a:spcBef>
              <a:spcAft>
                <a:spcPts val="0"/>
              </a:spcAft>
            </a:pPr>
            <a:r>
              <a:rPr lang="en-US" sz="1400" b="0" spc="-9" dirty="0" smtClean="0">
                <a:solidFill>
                  <a:schemeClr val="bg1"/>
                </a:solidFill>
                <a:latin typeface="Verdana"/>
                <a:cs typeface="Open Sans"/>
              </a:rPr>
              <a:t>Is in place, Is comprehensive and aligns </a:t>
            </a:r>
            <a:r>
              <a:rPr lang="en-US" sz="1400" b="0" spc="-9" dirty="0">
                <a:solidFill>
                  <a:schemeClr val="bg1"/>
                </a:solidFill>
                <a:latin typeface="Verdana"/>
                <a:cs typeface="Open Sans"/>
              </a:rPr>
              <a:t>with the Bank’s </a:t>
            </a:r>
            <a:r>
              <a:rPr lang="en-US" sz="1400" b="0" spc="-9" dirty="0" smtClean="0">
                <a:solidFill>
                  <a:schemeClr val="bg1"/>
                </a:solidFill>
                <a:latin typeface="Verdana"/>
                <a:cs typeface="Open Sans"/>
              </a:rPr>
              <a:t>goals</a:t>
            </a:r>
            <a:endParaRPr lang="en-US" sz="1400" b="0" dirty="0">
              <a:solidFill>
                <a:schemeClr val="bg1"/>
              </a:solidFill>
              <a:latin typeface="Verdana"/>
              <a:cs typeface="Open Sans"/>
            </a:endParaRPr>
          </a:p>
        </p:txBody>
      </p:sp>
      <p:sp>
        <p:nvSpPr>
          <p:cNvPr id="93" name="Cloud Callout 92"/>
          <p:cNvSpPr/>
          <p:nvPr/>
        </p:nvSpPr>
        <p:spPr>
          <a:xfrm>
            <a:off x="8369564" y="3660828"/>
            <a:ext cx="4127911" cy="1707951"/>
          </a:xfrm>
          <a:prstGeom prst="cloudCallout">
            <a:avLst>
              <a:gd name="adj1" fmla="val -63785"/>
              <a:gd name="adj2" fmla="val -40291"/>
            </a:avLst>
          </a:prstGeom>
          <a:solidFill>
            <a:schemeClr val="accent5">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spcBef>
                <a:spcPts val="600"/>
              </a:spcBef>
            </a:pPr>
            <a:r>
              <a:rPr lang="en-US" sz="1400" b="0" spc="-9" dirty="0">
                <a:solidFill>
                  <a:schemeClr val="bg1"/>
                </a:solidFill>
                <a:latin typeface="Verdana"/>
                <a:cs typeface="Open Sans"/>
              </a:rPr>
              <a:t>Participate and understand the Governance, Policies, Processes, Procedures, investments, support the development of executive-led cyber risk program</a:t>
            </a:r>
          </a:p>
        </p:txBody>
      </p:sp>
      <p:sp>
        <p:nvSpPr>
          <p:cNvPr id="94" name="Cloud Callout 93"/>
          <p:cNvSpPr/>
          <p:nvPr/>
        </p:nvSpPr>
        <p:spPr>
          <a:xfrm>
            <a:off x="431165" y="2654004"/>
            <a:ext cx="3273606" cy="1437829"/>
          </a:xfrm>
          <a:prstGeom prst="cloudCallout">
            <a:avLst>
              <a:gd name="adj1" fmla="val 24475"/>
              <a:gd name="adj2" fmla="val 167610"/>
            </a:avLst>
          </a:prstGeom>
          <a:solidFill>
            <a:srgbClr val="179B24"/>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marL="12700" algn="l" fontAlgn="auto">
              <a:lnSpc>
                <a:spcPct val="117683"/>
              </a:lnSpc>
              <a:spcBef>
                <a:spcPts val="0"/>
              </a:spcBef>
              <a:spcAft>
                <a:spcPts val="0"/>
              </a:spcAft>
            </a:pPr>
            <a:r>
              <a:rPr lang="en-US" sz="1400" b="0" spc="-9" dirty="0" smtClean="0">
                <a:solidFill>
                  <a:schemeClr val="bg1"/>
                </a:solidFill>
                <a:latin typeface="Verdana"/>
                <a:cs typeface="Open Sans"/>
              </a:rPr>
              <a:t>Ensure that adequate controls, risk management, and remediation</a:t>
            </a:r>
            <a:endParaRPr lang="en-US" sz="1400" b="0" spc="-9" dirty="0">
              <a:solidFill>
                <a:schemeClr val="bg1"/>
              </a:solidFill>
              <a:latin typeface="Verdana"/>
              <a:cs typeface="Open Sans"/>
            </a:endParaRPr>
          </a:p>
        </p:txBody>
      </p:sp>
      <p:sp>
        <p:nvSpPr>
          <p:cNvPr id="95" name="Cloud Callout 94"/>
          <p:cNvSpPr/>
          <p:nvPr/>
        </p:nvSpPr>
        <p:spPr>
          <a:xfrm>
            <a:off x="230666" y="6204156"/>
            <a:ext cx="4024812" cy="1437829"/>
          </a:xfrm>
          <a:prstGeom prst="cloudCallout">
            <a:avLst>
              <a:gd name="adj1" fmla="val 70629"/>
              <a:gd name="adj2" fmla="val -56946"/>
            </a:avLst>
          </a:prstGeom>
          <a:solidFill>
            <a:srgbClr val="3B892D"/>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marL="12700" algn="l" fontAlgn="auto">
              <a:lnSpc>
                <a:spcPct val="117683"/>
              </a:lnSpc>
              <a:spcBef>
                <a:spcPts val="0"/>
              </a:spcBef>
              <a:spcAft>
                <a:spcPts val="0"/>
              </a:spcAft>
            </a:pPr>
            <a:r>
              <a:rPr lang="en-US" sz="1400" b="0" spc="-9" dirty="0" smtClean="0">
                <a:solidFill>
                  <a:schemeClr val="bg1"/>
                </a:solidFill>
                <a:latin typeface="Verdana"/>
                <a:cs typeface="Open Sans"/>
              </a:rPr>
              <a:t>Ensure that adequate threat intelligence, detection mechanisms, and early remediation is in place</a:t>
            </a:r>
            <a:endParaRPr lang="en-US" sz="1400" b="0" spc="-9" dirty="0">
              <a:solidFill>
                <a:schemeClr val="bg1"/>
              </a:solidFill>
              <a:latin typeface="Verdana"/>
              <a:cs typeface="Open Sans"/>
            </a:endParaRPr>
          </a:p>
        </p:txBody>
      </p:sp>
      <p:sp>
        <p:nvSpPr>
          <p:cNvPr id="96" name="Cloud Callout 95"/>
          <p:cNvSpPr/>
          <p:nvPr/>
        </p:nvSpPr>
        <p:spPr>
          <a:xfrm>
            <a:off x="9504982" y="5750681"/>
            <a:ext cx="4024812" cy="1437829"/>
          </a:xfrm>
          <a:prstGeom prst="cloudCallout">
            <a:avLst>
              <a:gd name="adj1" fmla="val -79910"/>
              <a:gd name="adj2" fmla="val -48113"/>
            </a:avLst>
          </a:prstGeom>
          <a:solidFill>
            <a:schemeClr val="accent6">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marL="12700" algn="l" fontAlgn="auto">
              <a:lnSpc>
                <a:spcPct val="117683"/>
              </a:lnSpc>
              <a:spcBef>
                <a:spcPts val="0"/>
              </a:spcBef>
              <a:spcAft>
                <a:spcPts val="0"/>
              </a:spcAft>
            </a:pPr>
            <a:r>
              <a:rPr lang="en-US" sz="1400" b="0" spc="-9" dirty="0" smtClean="0">
                <a:solidFill>
                  <a:schemeClr val="bg1"/>
                </a:solidFill>
                <a:latin typeface="Verdana"/>
                <a:cs typeface="Open Sans"/>
              </a:rPr>
              <a:t>Ensure that incident response protocols are in place, business continuity, testing and reporting</a:t>
            </a:r>
            <a:endParaRPr lang="en-US" sz="1400" b="0" spc="-9" dirty="0">
              <a:solidFill>
                <a:schemeClr val="bg1"/>
              </a:solidFill>
              <a:latin typeface="Verdana"/>
              <a:cs typeface="Open Sans"/>
            </a:endParaRPr>
          </a:p>
        </p:txBody>
      </p:sp>
      <p:sp>
        <p:nvSpPr>
          <p:cNvPr id="2" name="TextBox 1"/>
          <p:cNvSpPr txBox="1"/>
          <p:nvPr/>
        </p:nvSpPr>
        <p:spPr>
          <a:xfrm>
            <a:off x="4378449" y="6548468"/>
            <a:ext cx="2614566" cy="954107"/>
          </a:xfrm>
          <a:prstGeom prst="rect">
            <a:avLst/>
          </a:prstGeom>
          <a:noFill/>
        </p:spPr>
        <p:txBody>
          <a:bodyPr wrap="square" rtlCol="0">
            <a:spAutoFit/>
          </a:bodyPr>
          <a:lstStyle/>
          <a:p>
            <a:pPr>
              <a:spcBef>
                <a:spcPts val="600"/>
              </a:spcBef>
            </a:pPr>
            <a:r>
              <a:rPr lang="en-US" sz="1400" b="0" kern="0" dirty="0" smtClean="0">
                <a:solidFill>
                  <a:schemeClr val="bg1"/>
                </a:solidFill>
                <a:latin typeface="Verdana"/>
              </a:rPr>
              <a:t>SIEM, DAM, Threat Intelligence, </a:t>
            </a:r>
            <a:r>
              <a:rPr lang="en-US" sz="1400" b="0" kern="0" dirty="0">
                <a:solidFill>
                  <a:schemeClr val="bg1"/>
                </a:solidFill>
                <a:latin typeface="Verdana"/>
              </a:rPr>
              <a:t>security monitoring, and behavioral and risk analyses</a:t>
            </a:r>
            <a:endParaRPr lang="en-ZA" sz="1400" dirty="0" err="1" smtClean="0">
              <a:solidFill>
                <a:schemeClr val="bg1"/>
              </a:solidFill>
            </a:endParaRPr>
          </a:p>
        </p:txBody>
      </p:sp>
      <p:sp>
        <p:nvSpPr>
          <p:cNvPr id="73" name="TextBox 72"/>
          <p:cNvSpPr txBox="1"/>
          <p:nvPr/>
        </p:nvSpPr>
        <p:spPr>
          <a:xfrm>
            <a:off x="519576" y="5034605"/>
            <a:ext cx="2593145" cy="1169551"/>
          </a:xfrm>
          <a:prstGeom prst="rect">
            <a:avLst/>
          </a:prstGeom>
          <a:noFill/>
        </p:spPr>
        <p:txBody>
          <a:bodyPr wrap="square" rtlCol="0">
            <a:spAutoFit/>
          </a:bodyPr>
          <a:lstStyle/>
          <a:p>
            <a:pPr>
              <a:spcBef>
                <a:spcPts val="600"/>
              </a:spcBef>
            </a:pPr>
            <a:r>
              <a:rPr lang="en-US" sz="1400" b="0" kern="0" dirty="0">
                <a:solidFill>
                  <a:schemeClr val="bg1"/>
                </a:solidFill>
                <a:latin typeface="Verdana"/>
              </a:rPr>
              <a:t>P</a:t>
            </a:r>
            <a:r>
              <a:rPr lang="en-US" sz="1400" b="0" kern="0" dirty="0" smtClean="0">
                <a:solidFill>
                  <a:schemeClr val="bg1"/>
                </a:solidFill>
                <a:latin typeface="Verdana"/>
              </a:rPr>
              <a:t>erimeter </a:t>
            </a:r>
            <a:r>
              <a:rPr lang="en-US" sz="1400" b="0" kern="0" dirty="0">
                <a:solidFill>
                  <a:schemeClr val="bg1"/>
                </a:solidFill>
                <a:latin typeface="Verdana"/>
              </a:rPr>
              <a:t>defenses, identity management, and data </a:t>
            </a:r>
            <a:r>
              <a:rPr lang="en-US" sz="1400" b="0" kern="0" dirty="0" smtClean="0">
                <a:solidFill>
                  <a:schemeClr val="bg1"/>
                </a:solidFill>
                <a:latin typeface="Verdana"/>
              </a:rPr>
              <a:t>protection, access controls, antivirus, DLP, WAF, NAC, etc.</a:t>
            </a:r>
            <a:endParaRPr lang="en-ZA" sz="1400" dirty="0" err="1" smtClean="0">
              <a:solidFill>
                <a:schemeClr val="bg1"/>
              </a:solidFill>
            </a:endParaRPr>
          </a:p>
        </p:txBody>
      </p:sp>
      <p:sp>
        <p:nvSpPr>
          <p:cNvPr id="74" name="TextBox 73"/>
          <p:cNvSpPr txBox="1"/>
          <p:nvPr/>
        </p:nvSpPr>
        <p:spPr>
          <a:xfrm>
            <a:off x="6569633" y="5904975"/>
            <a:ext cx="2614566" cy="954107"/>
          </a:xfrm>
          <a:prstGeom prst="rect">
            <a:avLst/>
          </a:prstGeom>
          <a:noFill/>
        </p:spPr>
        <p:txBody>
          <a:bodyPr wrap="square" rtlCol="0">
            <a:spAutoFit/>
          </a:bodyPr>
          <a:lstStyle/>
          <a:p>
            <a:pPr>
              <a:spcBef>
                <a:spcPts val="600"/>
              </a:spcBef>
            </a:pPr>
            <a:r>
              <a:rPr lang="en-US" sz="1400" b="0" kern="0" dirty="0">
                <a:solidFill>
                  <a:schemeClr val="bg1"/>
                </a:solidFill>
                <a:latin typeface="Verdana"/>
              </a:rPr>
              <a:t>Incident response protocols, forensics, and business continuity and disaster recovery plans</a:t>
            </a:r>
            <a:endParaRPr lang="en-ZA" sz="1400" dirty="0" err="1" smtClean="0">
              <a:solidFill>
                <a:schemeClr val="bg1"/>
              </a:solidFill>
            </a:endParaRPr>
          </a:p>
        </p:txBody>
      </p:sp>
    </p:spTree>
    <p:extLst>
      <p:ext uri="{BB962C8B-B14F-4D97-AF65-F5344CB8AC3E}">
        <p14:creationId xmlns:p14="http://schemas.microsoft.com/office/powerpoint/2010/main" val="16774738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93"/>
                                        </p:tgtEl>
                                        <p:attrNameLst>
                                          <p:attrName>style.visibility</p:attrName>
                                        </p:attrNameLst>
                                      </p:cBhvr>
                                      <p:to>
                                        <p:strVal val="visible"/>
                                      </p:to>
                                    </p:set>
                                    <p:anim calcmode="lin" valueType="num">
                                      <p:cBhvr additive="base">
                                        <p:cTn id="13" dur="500" fill="hold"/>
                                        <p:tgtEl>
                                          <p:spTgt spid="93"/>
                                        </p:tgtEl>
                                        <p:attrNameLst>
                                          <p:attrName>ppt_x</p:attrName>
                                        </p:attrNameLst>
                                      </p:cBhvr>
                                      <p:tavLst>
                                        <p:tav tm="0">
                                          <p:val>
                                            <p:strVal val="#ppt_x"/>
                                          </p:val>
                                        </p:tav>
                                        <p:tav tm="100000">
                                          <p:val>
                                            <p:strVal val="#ppt_x"/>
                                          </p:val>
                                        </p:tav>
                                      </p:tavLst>
                                    </p:anim>
                                    <p:anim calcmode="lin" valueType="num">
                                      <p:cBhvr additive="base">
                                        <p:cTn id="14" dur="500" fill="hold"/>
                                        <p:tgtEl>
                                          <p:spTgt spid="9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xit" presetSubtype="4" fill="hold" grpId="0" nodeType="clickEffect">
                                  <p:stCondLst>
                                    <p:cond delay="0"/>
                                  </p:stCondLst>
                                  <p:childTnLst>
                                    <p:anim calcmode="lin" valueType="num">
                                      <p:cBhvr additive="base">
                                        <p:cTn id="18" dur="500"/>
                                        <p:tgtEl>
                                          <p:spTgt spid="73"/>
                                        </p:tgtEl>
                                        <p:attrNameLst>
                                          <p:attrName>ppt_x</p:attrName>
                                        </p:attrNameLst>
                                      </p:cBhvr>
                                      <p:tavLst>
                                        <p:tav tm="0">
                                          <p:val>
                                            <p:strVal val="ppt_x"/>
                                          </p:val>
                                        </p:tav>
                                        <p:tav tm="100000">
                                          <p:val>
                                            <p:strVal val="ppt_x"/>
                                          </p:val>
                                        </p:tav>
                                      </p:tavLst>
                                    </p:anim>
                                    <p:anim calcmode="lin" valueType="num">
                                      <p:cBhvr additive="base">
                                        <p:cTn id="19" dur="500"/>
                                        <p:tgtEl>
                                          <p:spTgt spid="73"/>
                                        </p:tgtEl>
                                        <p:attrNameLst>
                                          <p:attrName>ppt_y</p:attrName>
                                        </p:attrNameLst>
                                      </p:cBhvr>
                                      <p:tavLst>
                                        <p:tav tm="0">
                                          <p:val>
                                            <p:strVal val="ppt_y"/>
                                          </p:val>
                                        </p:tav>
                                        <p:tav tm="100000">
                                          <p:val>
                                            <p:strVal val="1+ppt_h/2"/>
                                          </p:val>
                                        </p:tav>
                                      </p:tavLst>
                                    </p:anim>
                                    <p:set>
                                      <p:cBhvr>
                                        <p:cTn id="20" dur="1" fill="hold">
                                          <p:stCondLst>
                                            <p:cond delay="499"/>
                                          </p:stCondLst>
                                        </p:cTn>
                                        <p:tgtEl>
                                          <p:spTgt spid="73"/>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42" presetClass="exit" presetSubtype="0" fill="hold" grpId="0" nodeType="clickEffect">
                                  <p:stCondLst>
                                    <p:cond delay="0"/>
                                  </p:stCondLst>
                                  <p:childTnLst>
                                    <p:animEffect transition="out" filter="fade">
                                      <p:cBhvr>
                                        <p:cTn id="24" dur="1000"/>
                                        <p:tgtEl>
                                          <p:spTgt spid="2"/>
                                        </p:tgtEl>
                                      </p:cBhvr>
                                    </p:animEffect>
                                    <p:anim calcmode="lin" valueType="num">
                                      <p:cBhvr>
                                        <p:cTn id="25" dur="1000"/>
                                        <p:tgtEl>
                                          <p:spTgt spid="2"/>
                                        </p:tgtEl>
                                        <p:attrNameLst>
                                          <p:attrName>ppt_x</p:attrName>
                                        </p:attrNameLst>
                                      </p:cBhvr>
                                      <p:tavLst>
                                        <p:tav tm="0">
                                          <p:val>
                                            <p:strVal val="ppt_x"/>
                                          </p:val>
                                        </p:tav>
                                        <p:tav tm="100000">
                                          <p:val>
                                            <p:strVal val="ppt_x"/>
                                          </p:val>
                                        </p:tav>
                                      </p:tavLst>
                                    </p:anim>
                                    <p:anim calcmode="lin" valueType="num">
                                      <p:cBhvr>
                                        <p:cTn id="26" dur="1000"/>
                                        <p:tgtEl>
                                          <p:spTgt spid="2"/>
                                        </p:tgtEl>
                                        <p:attrNameLst>
                                          <p:attrName>ppt_y</p:attrName>
                                        </p:attrNameLst>
                                      </p:cBhvr>
                                      <p:tavLst>
                                        <p:tav tm="0">
                                          <p:val>
                                            <p:strVal val="ppt_y"/>
                                          </p:val>
                                        </p:tav>
                                        <p:tav tm="100000">
                                          <p:val>
                                            <p:strVal val="ppt_y+.1"/>
                                          </p:val>
                                        </p:tav>
                                      </p:tavLst>
                                    </p:anim>
                                    <p:set>
                                      <p:cBhvr>
                                        <p:cTn id="27" dur="1" fill="hold">
                                          <p:stCondLst>
                                            <p:cond delay="999"/>
                                          </p:stCondLst>
                                        </p:cTn>
                                        <p:tgtEl>
                                          <p:spTgt spid="2"/>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42" presetClass="exit" presetSubtype="0" fill="hold" grpId="0" nodeType="clickEffect">
                                  <p:stCondLst>
                                    <p:cond delay="0"/>
                                  </p:stCondLst>
                                  <p:childTnLst>
                                    <p:animEffect transition="out" filter="fade">
                                      <p:cBhvr>
                                        <p:cTn id="31" dur="1000"/>
                                        <p:tgtEl>
                                          <p:spTgt spid="74"/>
                                        </p:tgtEl>
                                      </p:cBhvr>
                                    </p:animEffect>
                                    <p:anim calcmode="lin" valueType="num">
                                      <p:cBhvr>
                                        <p:cTn id="32" dur="1000"/>
                                        <p:tgtEl>
                                          <p:spTgt spid="74"/>
                                        </p:tgtEl>
                                        <p:attrNameLst>
                                          <p:attrName>ppt_x</p:attrName>
                                        </p:attrNameLst>
                                      </p:cBhvr>
                                      <p:tavLst>
                                        <p:tav tm="0">
                                          <p:val>
                                            <p:strVal val="ppt_x"/>
                                          </p:val>
                                        </p:tav>
                                        <p:tav tm="100000">
                                          <p:val>
                                            <p:strVal val="ppt_x"/>
                                          </p:val>
                                        </p:tav>
                                      </p:tavLst>
                                    </p:anim>
                                    <p:anim calcmode="lin" valueType="num">
                                      <p:cBhvr>
                                        <p:cTn id="33" dur="1000"/>
                                        <p:tgtEl>
                                          <p:spTgt spid="74"/>
                                        </p:tgtEl>
                                        <p:attrNameLst>
                                          <p:attrName>ppt_y</p:attrName>
                                        </p:attrNameLst>
                                      </p:cBhvr>
                                      <p:tavLst>
                                        <p:tav tm="0">
                                          <p:val>
                                            <p:strVal val="ppt_y"/>
                                          </p:val>
                                        </p:tav>
                                        <p:tav tm="100000">
                                          <p:val>
                                            <p:strVal val="ppt_y+.1"/>
                                          </p:val>
                                        </p:tav>
                                      </p:tavLst>
                                    </p:anim>
                                    <p:set>
                                      <p:cBhvr>
                                        <p:cTn id="34" dur="1" fill="hold">
                                          <p:stCondLst>
                                            <p:cond delay="999"/>
                                          </p:stCondLst>
                                        </p:cTn>
                                        <p:tgtEl>
                                          <p:spTgt spid="74"/>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94"/>
                                        </p:tgtEl>
                                        <p:attrNameLst>
                                          <p:attrName>style.visibility</p:attrName>
                                        </p:attrNameLst>
                                      </p:cBhvr>
                                      <p:to>
                                        <p:strVal val="visible"/>
                                      </p:to>
                                    </p:set>
                                    <p:anim calcmode="lin" valueType="num">
                                      <p:cBhvr additive="base">
                                        <p:cTn id="39" dur="500" fill="hold"/>
                                        <p:tgtEl>
                                          <p:spTgt spid="94"/>
                                        </p:tgtEl>
                                        <p:attrNameLst>
                                          <p:attrName>ppt_x</p:attrName>
                                        </p:attrNameLst>
                                      </p:cBhvr>
                                      <p:tavLst>
                                        <p:tav tm="0">
                                          <p:val>
                                            <p:strVal val="#ppt_x"/>
                                          </p:val>
                                        </p:tav>
                                        <p:tav tm="100000">
                                          <p:val>
                                            <p:strVal val="#ppt_x"/>
                                          </p:val>
                                        </p:tav>
                                      </p:tavLst>
                                    </p:anim>
                                    <p:anim calcmode="lin" valueType="num">
                                      <p:cBhvr additive="base">
                                        <p:cTn id="40" dur="500" fill="hold"/>
                                        <p:tgtEl>
                                          <p:spTgt spid="94"/>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95"/>
                                        </p:tgtEl>
                                        <p:attrNameLst>
                                          <p:attrName>style.visibility</p:attrName>
                                        </p:attrNameLst>
                                      </p:cBhvr>
                                      <p:to>
                                        <p:strVal val="visible"/>
                                      </p:to>
                                    </p:set>
                                    <p:anim calcmode="lin" valueType="num">
                                      <p:cBhvr additive="base">
                                        <p:cTn id="45" dur="500" fill="hold"/>
                                        <p:tgtEl>
                                          <p:spTgt spid="95"/>
                                        </p:tgtEl>
                                        <p:attrNameLst>
                                          <p:attrName>ppt_x</p:attrName>
                                        </p:attrNameLst>
                                      </p:cBhvr>
                                      <p:tavLst>
                                        <p:tav tm="0">
                                          <p:val>
                                            <p:strVal val="#ppt_x"/>
                                          </p:val>
                                        </p:tav>
                                        <p:tav tm="100000">
                                          <p:val>
                                            <p:strVal val="#ppt_x"/>
                                          </p:val>
                                        </p:tav>
                                      </p:tavLst>
                                    </p:anim>
                                    <p:anim calcmode="lin" valueType="num">
                                      <p:cBhvr additive="base">
                                        <p:cTn id="46" dur="500" fill="hold"/>
                                        <p:tgtEl>
                                          <p:spTgt spid="95"/>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96"/>
                                        </p:tgtEl>
                                        <p:attrNameLst>
                                          <p:attrName>style.visibility</p:attrName>
                                        </p:attrNameLst>
                                      </p:cBhvr>
                                      <p:to>
                                        <p:strVal val="visible"/>
                                      </p:to>
                                    </p:set>
                                    <p:anim calcmode="lin" valueType="num">
                                      <p:cBhvr additive="base">
                                        <p:cTn id="51" dur="500" fill="hold"/>
                                        <p:tgtEl>
                                          <p:spTgt spid="96"/>
                                        </p:tgtEl>
                                        <p:attrNameLst>
                                          <p:attrName>ppt_x</p:attrName>
                                        </p:attrNameLst>
                                      </p:cBhvr>
                                      <p:tavLst>
                                        <p:tav tm="0">
                                          <p:val>
                                            <p:strVal val="#ppt_x"/>
                                          </p:val>
                                        </p:tav>
                                        <p:tav tm="100000">
                                          <p:val>
                                            <p:strVal val="#ppt_x"/>
                                          </p:val>
                                        </p:tav>
                                      </p:tavLst>
                                    </p:anim>
                                    <p:anim calcmode="lin" valueType="num">
                                      <p:cBhvr additive="base">
                                        <p:cTn id="52" dur="500" fill="hold"/>
                                        <p:tgtEl>
                                          <p:spTgt spid="9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93" grpId="0" animBg="1"/>
      <p:bldP spid="94" grpId="0" animBg="1"/>
      <p:bldP spid="95" grpId="0" animBg="1"/>
      <p:bldP spid="96" grpId="0" animBg="1"/>
      <p:bldP spid="2" grpId="0"/>
      <p:bldP spid="73" grpId="0"/>
      <p:bldP spid="74"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 name="AutoShape 6" descr="data:image/jpeg;base64,/9j/4AAQSkZJRgABAQAAAQABAAD/2wCEAAkGBwgHBhUIBwgVFhUWFyAZGRgYFyUfIBwiICEmIhwgKR8kHDQsHCMlHCEnITErJSksOjEuHR8zOj8xNzEwLiwBCgoKDg0OGxAQGjcmICUsLDQ3Njc4LCw3LDcsNDA1LDIuLi8wNC0vNzAvLC0sNjY3NywyLC80NCwuLy43NywsLP/AABEIALcBEwMBEQACEQEDEQH/xAAbAAEAAQUBAAAAAAAAAAAAAAAABgECBAUHA//EADUQAAIBAwIEBAUBBwUAAAAAAAABAgMEEQUhBhIxQSJRYXETMoGRoUIHFBVSgqKxI2JywfH/xAAbAQEAAgMBAQAAAAAAAAAAAAAABQYCAwQBB//EADYRAAIBAwIEBQMCBQMFAAAAAAABAgMEESExBRJBUQZhcYGhEyKRwfAUIzKx0UKS4SVicoLx/9oADAMBAAIRAxEAPwDm5cCEAAAAAAAAAAAAAAAAAAAAAAAAAAAAAAAAAAAAAAAAAAAAAAAAAAAAAAAAAAAAAAAAAAAAAAAAAAAAAAAAAAAAAAAAAAAAAAAAAAAAAAAAAAAAAAAAAAAAAAAAAAAAAAAAAMrUbCvp1wqF1HDcIz+kkn+Onumc1pd07qDnTeicl/tbX6Z9DbVoypS5Zdk/yYp0moAAAAAAAAAAAAAAAAAAAAAAAAAAAAAAAAAAAAAAAAAAAGTcWNa3s6V3UXhq83L/AEvD/JzUrqnUrVKMX90MZ/8AZZRtlSlGEZvZ5+DGOk1AAmnC/D/D2t4cL2qqkcOVKTjvjrh8vij7fgpnG+NcU4dnNKLg9prOnbKzo/h9GyZs7S2r4xJ57Ep4x4f0nUMajql46ShHlcljdZylut3lvCXmVTw7xq+ts2ttT+o5PONdO/ttnJJX1pRqfzKksYOVX6s1dNac5uC6OeMv1wlt7H1a2+u6adxjm/7c4X53+CsVfp838vbzMc6DWeltRnc3EaFJbzkor3bwvya61WNKnKpLaKbfotWZQg5yUV1K3VCdrdTt6vzQk4v3TwzyjVjWpxqQ2kk16PUTg4ScX0PI2mIAAAAAAAAAAAAAAAAAAAAAAAAAAAAAAAAAAABJOGNH0TWWre4v6lOt2i8Yl/xeOvo/yVzjXEuIWCdWnRU6ffXK9V28/wA4JGzt7ev9spNS/v6E/wBW4Wsb3Q6Wn1a7hGgtp7Zwlh5ztv1fsfPuH+IrmhfVbiMOZ1f9OvfTGNdNkTtexpzoxpt4Uepy7W6OlW1z8HSbmdRLrOSST9tt16/+n1Ph1W8q0+e6goN7JZbXr09vz2K1cxowly0m35/4NaSJzEi4Q1Wz0KdXUbmPNPl5KcF3b3k2/wBKWEs+rK9x/h1fiMadrTfLDOZS7Y2SXVvLftq9iQsK8LfmqS1eyRsq/F8Ne0atpusUowlJc1OcflynmMX5dMZ9d8dSMo+GXw28pXVnJuK0knvh6NrbPfHlpnY6ZcRVxSlTqrD6MhZdCGL6Xw/ir4yfLnfHXHpkxnzcr5N/PY9jjP3bHRuD+G9ErXENW07UJ1OR55JJJp4eMrth7r2PnHiHjvEadOdncUVHmWOZNtNZ1w/Pbus6pFhsbO3clVpyzjoV4w4b0WncT1bUdQnT538kUm28JbLq2+v1PPDvHeITpws7eip8vVtrCz1flt3fTIvrKgpOrUljJzit8P4r+Any525uuPXB9Hhzcq59+uNvYr8uXP27FhmYgAAAAAAAAAAAAAAAAAAAAAAAAAAAAAAAAAA2vC9aztdZjeajPEKWZ4xlya+VJefM0/oyK41SuK1nKjbr7p/b2ST/AKm/LGUdVnKEKqnU2Wv+CV0eP6N9cVLTVrNRoVE4px3lFNYef5vpjHqVSp4NnbQhWtKmasGnropNa6dvfOeuCUjxaNSThUWIv96kBqw+HVdPnTw2sro8d16F+hLmipYxn4IKSw2i0yPAAAAAACV8N8QW3DeiTnRgp3FWWy7RjHaPM/fLwu2OhVOMcFq8WvIRm+WjBe8m98eySy+uyepKWl3C1otrWT+PUrxFxDbcSaHF3EFC4pSzjtOL2lyvtvh4fl3POEcEq8JvZKm+ajUXvFrVZ9srK90j26vIXVFZ0kvn0ImWwigAAAAAAAAAAAAAAAAAAAAAAAAAAAAAAAADZ22j1a+gVdWj0pzjH3z832bj92RlbiUKd/Ts3vOMn+NvylL8HTC2cqEqvZr/AJ/Q1hJnMAAAAAAAAAAAAAAAADZ8P6PV1q8lb0esacp/VLwr6yaX3IzivEoWFKNSfWUY/l6v2jlnTa2zrycV0Tf+Pk1hJnMAAAAAAAAAAAAAAAAAAAAAAAAAAAADaaFeaZbXHLrGnKrTfVqUlKPtiSTXo/uRfE7a8rU82dbkmvJNP1ym16r8HTbVKUZYqxyvfJ1+z0nTI6R+421tijNZcd9+b3eU/wDB8eueJXrvPr1J/wA2DxnTTHpp+jLXTt6SpckV9r9evycs4puNFjcSs9F0xQ5XiVSTlltPdKLlsvff2PqvBKHEXTVa9r82VlRSjhZ7tLV+mnqVq9nQUnClDGOupHywHAAAAAAAAAAAAAADIsLijbXKqXNpGrHvCTaz9U8p/f2Oe6o1KtNxp1HCXRpJ49msNfj1RspTjGWZRyjrvCFvorsf4jolm6aqbPLefC+m7ffyPkHiGvxFV/4W9qc3LqsYxr10S6d9i1WMKHJ9SlHGfUifGy4f0iu7W00hOtLxOUpT5Y5745vE/RbL8Fu8NPit9TVetcYpLRJKOXju8aL5fluRfEFbUXyxh93vj+5Bi8kKAAAAAAAAAAAAAAAAAAAAAAAAAAAe1nKjG6jK6i3BSTkl1aT3X1Wxqrqo6UlTeJYePJ9H7GdNxU05bEiueOtZq6mrujUUIrZUuscev8z9dvTBXKPhHh8LZ0Jrmk95f6s+Xb01z1yd8+K13U51ou3T3NNrl5R1HVJ3tClyfE8Tj5Sa8W/dOWX26k1w21na20aE5c3Lon3S/p06YWF7HJc1I1KjnFYz+2YB3GgAAAAAAAAAAAAAAAkdfiy8o6fS07SJulTpJeJfNOXWTfknLLx989Cu0/DtvUuKl1drnnNvR7RWyS7tLCz+MEhLiE4wjTpaJfJi8Q65/Ho069xRUa0E4Sa6SXWL9Gnnb1+h08J4SuGupTpyzTk8pPeL2a81tjr37mu6uv4hRlJfctPU0xMnGAAAAAAAAAAAAAAAAAAAAAAAAAAAAAAAAAAAAAAAAAAAAAAAAAAAAAAAAAAAAAAAAAAAAAAAAAAAAAAMpdWAb+10F1uDqusY3jUWP+C2l/dL+wga3F1T4vTsejg8/wDk9V8Rf+474WmbWVXrn4/b+CP5XmT2DgKgAAAAAAAAAAAAAAAAAAG94N0WOu6pKhUfhjTk2/Jtcsf7nn+kgvEPFXw21VVbuUV7ZzL4TXud1ha/XqOL2w/+DR1IypVHTqrEk8NeTXVfcnIyU4qUdU9TjlFxeGUPTEAAAAAAAAAAAAAAAAAAAAAAAA2/D2v3eiV80YKcG/FTktn7eT9V+SJ4rwijxCniTcZLaS0a9e68vw0ddrdzoS0WV2O1QUORQcEsr5f8/k+JTcudzUm8PfX2/sW9YxjByDi7X7vUr2dnKkqdOE3Hkj3cXjLfff6f5PsXAeEULWjGspOcpJPmfZr/AErp/d/BVb67nUm4Ywk9v8kdLCR4AAAAAAAAAAAAAAAAMiwvbjT7pXNpUxJfVP0afVGi5tqVzTdKqsp+34e6NlKrKnLmjudj4V1J6rosb+tbRpuTaeOjw8ZXll9j4zx6x/g72VvCbmks67rKzh+i1zoW2yrfVpKo1jJGv2h69dafcLTrOhGHPDmdTHieW00tvD03fX2LP4R4TRuaX8VVm5crxy64WMb999Ft69I7il1Ok/pxWMrc5yfRivgAAAAAAAAAAAAAAAAAAAAAAAHvZXH7peQuVTUnCSkk+ja3WfTJpuKP1qUqWccyayt9d8eZnTnyTUsbGRW1rUq2p/xKd5L4q6STxj0S6JenQ5qfC7Snbfwsaa+n27+b6589zbK6qyqfUctTy1S+nqV9K8rQSlLHNjo3jDeO2cZ98m2ytI2lGNGDbjHbPRZ0Xtt6GFaq6s3NrVmKdRqAAAAAAAAAAAAAAAAAANhqGsXd9a07OU+WlTilGC6bfqfnJvfL89sEfa8NoW9WddLM5ttye+vRdktsfnJ0VbmdSKhsl0Goaxd6laU6F9PndPKjN/Nh42b/AFdNm9+vU9tOG0LSrOpQXKp4yumV1S6Zzr0226qtzOrBRnrjqa87znAAAAAAAAAAAAAAAAAAAAAAAAAAAAAAAAAAAAAAAAAAAAAAAAAAAAAAAAAAAAAAAAAAAAAAAAAAAAAAMuz02/voOdlZ1KiWz5It4+3Q5bi+trZpVqijnu0s/k2woVKizCLZKrDhS5nwbXqVrSSrOalCLi+bEPTrlqUvfYql14joR4xRhConS5Wm8rGZee2nLH01JSlYSdpNuP3Z/t+2Re60jUrSj8a7sKkIrvKDS+7RaKHErOvPkpVYyfZNN/BGTt6sFmUWkYR2mkAAAAAAAAAAAAAHtaWlze1fhWlCU5YziKy/sjTXuKVCHPVkoru3hfkzhTlN4issl3BXC1zXv6j1WynCCpSiueLWXNcu2VviOfwVHxH4ho0qEP4WopS54t4aekXnXHdpfJK8PsZSnL6kWlh/JHqvD2s0W1PTKuI5y+R4275x09Sw0+NcPqY5a8cvGnMs69MZ3OCVnXTf2P8ADNYSZzAAAAAAAAAAAAAAAAAAAAAAAAAAAGXpd7e2F9GtptVxqZwsd89mu6b7M5L21t7mi6dxFOPn080+mO5uoValOadN6na/4pZ0LuGn3d3BVpRzy5xl9/bL6JvL9T4k+HXFSlO5o026Sb18v1x1a0XXBcPrwjJU5SXMzkvGN7qFzrtSjqVXPw5uMYraKXbC9Vh56n13w/a2lGxpzto454pt7tvrl+Tyuy6Iq1/VqyrONR7M0ZNnEAAAAAAAAAAAAAC6nUnSqKpSm008pp4afmn2MZwjOLjJZT6PXJ7GTi8o6/oWufA4bo3nEN5GMqnRvZtZxF4Xpu30Se58e4rwj6vEqtDh1NtR3S1SeNcZ89Et29i2W9zy0Izryw2Rf9p19f8A77C0Vf8A0JQU4qPSTzvl/qxs123XuWrwVZ230JVuX+bGTTzuvRdOz67+hG8Xq1OZRz9rRBi8kIAAAAAAAAAAAAAAAAAAAAAAAAAAAelvWqW1eNejLEovKeOjXR/RmurSjVg6c1lNYfmnuZQm4SUlui2pUnVqOpVm228tt5bfnnuZQhGEVGKwl07Hjk5PLPS6uq95V+Lc1HKWEuZ9XhYWX3eNsvyNdGhToR5Kawst46a6vHbXUynUlN5k9TxNxgXzpVIU41JQaUs4fnjZ/kwU4uTinqt/LJk4tJN9SwzMQAAAAAAAVhGU5qEFlt4SPJNRWXsepNvCK1ISp1HTnHDTw15NdRGSklJbMNNPDLT08Pa6uq93UU7io3hKK8klskl2S8kaaNCnRi401jLbfm3u33bM51JTeZMVLqvUto21So3GDbin+nPXHknjoI0KcakqsViUsZffG2fTIdSTiot6I8TcYAAAAAAAAAAAAAAAAAAAAAAAAAAAAAAAA3uicLXet0HUsLug2vmi5NSj7rk/K2ILiXiChw6fLXpzw9mkmn6Pm+Hhndb2E68cwkvn/BMtZ4LrXXD1tZWcoKpR+ZttJ8yzPfG/jxjbpkpnDvFVOjxC4r1k+SpjGMNrl0jpnH9O+u5L1+GudCEI7x/Xf5IDrWk1NHuf3a4uqUp9405N8vvmKSfp1L/w7iMb6n9WnCUY9HJJZ9NW/fbsQVxbuhLlck35GuJE5wAXVKc6cuWpFp4T38msp/VPJjGcZLMXndfh4f4aweuLW5aZHhdTip1FGVRRT7vOF9k39kYzk4xbSz5LGv5aXyj2Ky8N4Jzw1wReU9To39e4ozpKSnmE2843jjw4fix38yi8Z8WUHbVbaEJxqNOP3JLGdHnVvbJN2nC5qpGo2mt9CvE3BF5V1StqFvXowpSfPmc3HGd5Z8OF4s9zzgviy3jbUrapCcqiXL9qTzjbGudsC74ZOVSVSLSW+vyQarBU6jhGopYfVZw/bKT+6L1Tk5RUmsZ6PGV64bXyyEksPCeSwzPAAAAAAAAAAAAAAAAAAAAAAAAAAAAAAAAAAAbvgyDfEVOq6/JGGZzlzYxGO7y/JvEX7kJ4hl/0+pBQ5pS+2KxnLe2F3Wr8sHbw9fz084S1ft+8E/hxfpOsVKmmULmVNyi406r8Kbawmn1i89M4/wCj5+/DF7Yxp3c4Kai05RWuEn1Wz03xnHpqTi4jRrOVOLxnZ7HJ6sJ06jhVWJJtNPz7/k+swlGUVKOz2/Qq8k02nuWmR4SbTOCdQ1OjG4trmjKnJrMozeV57cuzXkytXvim0s5ypVYyU10a37a52fdElR4ZUqpSi00SXjHg261O/hcaVyJKmoSUnj5do9v5dvois+HvFNC1oSp3beeZtYWf6tX175fuSN9w2VWalTxtj8HPL+0djdO3lXhNrq4PKz5Zxv8AQ+h2twrimqii4p91h/jp7kBVp/Tly5T9DHOg1k74J1S24f0GpfahXlipPFOknly5Vu0u2W8N/wC1FE8S8OrcUvqdvbwX2rMpds7Jvd4Syl5k5w+vG3oOdR7vRehXjTVbbiHh6F7p9eX+nPFSk3hrm6NrviSwn/uZ54b4bW4XfzoXEV90ftl3xuk91lPLXl7i/rxuaCnTez1XqQMvhBgAAAAAAAAAAAAAAAAAAAAAAAAAAAAAAAAAAAFctLCYwMlACrbby2EsaIFACXfs7rwsLutqF3dclGEMS32lKT8Kx+p4Tx3Kj4uoyuaNO2ow5qkpaeSX9Tz0WWs9CW4VJU5SqSeIpfv9Tf6vxFacScN16Om15QqRXNyPZyjF5ljD3TjnK+5AcO4HX4TxGjO5ipQk8ZWqjJ7b7Pmwk/xqd1a7hdUJqm8NfK/+HMj6aVsABtvqwMlU2ujGBkoAAAAAAAAAAAAAAAAAAAAAAAAAAAAAAAAAAAAAAAAAAAV5ny8udvI8ws5GXjAjJxlzReGGk1hhNrYoegAAAAAAAAAAAAAAAAAAAAAAAAAAAAAAAAAAAAAAAAAAAAAAAAAAAAAAAAAAAAAAAAAAAAAAAAAAAAAAAAAAAAAAAAAAAAAAAAAAAAAAAAAAAAAAAAAAAAAAAAAAAAAAAAA//9k="/>
          <p:cNvSpPr>
            <a:spLocks noChangeAspect="1" noChangeArrowheads="1"/>
          </p:cNvSpPr>
          <p:nvPr/>
        </p:nvSpPr>
        <p:spPr bwMode="auto">
          <a:xfrm>
            <a:off x="217805" y="-163722"/>
            <a:ext cx="426720" cy="3454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17539" tIns="58769" rIns="117539" bIns="58769"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400" b="1" i="0" u="none" strike="noStrike" kern="1200" cap="none" spc="0" normalizeH="0" baseline="0" noProof="0" dirty="0">
              <a:ln>
                <a:noFill/>
              </a:ln>
              <a:solidFill>
                <a:srgbClr val="002776"/>
              </a:solidFill>
              <a:effectLst/>
              <a:uLnTx/>
              <a:uFillTx/>
              <a:latin typeface="Arial" pitchFamily="34" charset="0"/>
              <a:ea typeface="+mn-ea"/>
              <a:cs typeface="Arial" pitchFamily="34" charset="0"/>
            </a:endParaRPr>
          </a:p>
        </p:txBody>
      </p:sp>
      <p:sp>
        <p:nvSpPr>
          <p:cNvPr id="6" name="AutoShape 8" descr="data:image/jpeg;base64,/9j/4AAQSkZJRgABAQAAAQABAAD/2wCEAAkGBwgHBhUIBwgVFhUWFyAZGRgYFyUfIBwiICEmIhwgKR8kHDQsHCMlHCEnITErJSksOjEuHR8zOj8xNzEwLiwBCgoKDg0OGxAQGjcmICUsLDQ3Njc4LCw3LDcsNDA1LDIuLi8wNC0vNzAvLC0sNjY3NywyLC80NCwuLy43NywsLP/AABEIALcBEwMBEQACEQEDEQH/xAAbAAEAAQUBAAAAAAAAAAAAAAAABgECBAUHA//EADUQAAIBAwIEBAUBBwUAAAAAAAABAgMEEQUhBhIxQSJRYXETMoGRoUIHFBVSgqKxI2JywfH/xAAbAQEAAgMBAQAAAAAAAAAAAAAABQYCAwQBB//EADYRAAIBAwIEBQMCBQMFAAAAAAABAgMEESExBRJBUQZhcYGhEyKRwfAUIzKx0UKS4SVicoLx/9oADAMBAAIRAxEAPwDm5cCEAAAAAAAAAAAAAAAAAAAAAAAAAAAAAAAAAAAAAAAAAAAAAAAAAAAAAAAAAAAAAAAAAAAAAAAAAAAAAAAAAAAAAAAAAAAAAAAAAAAAAAAAAAAAAAAAAAAAAAAAAAAAAAAAAMrUbCvp1wqF1HDcIz+kkn+Onumc1pd07qDnTeicl/tbX6Z9DbVoypS5Zdk/yYp0moAAAAAAAAAAAAAAAAAAAAAAAAAAAAAAAAAAAAAAAAAAAGTcWNa3s6V3UXhq83L/AEvD/JzUrqnUrVKMX90MZ/8AZZRtlSlGEZvZ5+DGOk1AAmnC/D/D2t4cL2qqkcOVKTjvjrh8vij7fgpnG+NcU4dnNKLg9prOnbKzo/h9GyZs7S2r4xJ57Ep4x4f0nUMajql46ShHlcljdZylut3lvCXmVTw7xq+ts2ttT+o5PONdO/ttnJJX1pRqfzKksYOVX6s1dNac5uC6OeMv1wlt7H1a2+u6adxjm/7c4X53+CsVfp838vbzMc6DWeltRnc3EaFJbzkor3bwvya61WNKnKpLaKbfotWZQg5yUV1K3VCdrdTt6vzQk4v3TwzyjVjWpxqQ2kk16PUTg4ScX0PI2mIAAAAAAAAAAAAAAAAAAAAAAAAAAAAAAAAAAABJOGNH0TWWre4v6lOt2i8Yl/xeOvo/yVzjXEuIWCdWnRU6ffXK9V28/wA4JGzt7ev9spNS/v6E/wBW4Wsb3Q6Wn1a7hGgtp7Zwlh5ztv1fsfPuH+IrmhfVbiMOZ1f9OvfTGNdNkTtexpzoxpt4Uepy7W6OlW1z8HSbmdRLrOSST9tt16/+n1Ph1W8q0+e6goN7JZbXr09vz2K1cxowly0m35/4NaSJzEi4Q1Wz0KdXUbmPNPl5KcF3b3k2/wBKWEs+rK9x/h1fiMadrTfLDOZS7Y2SXVvLftq9iQsK8LfmqS1eyRsq/F8Ne0atpusUowlJc1OcflynmMX5dMZ9d8dSMo+GXw28pXVnJuK0knvh6NrbPfHlpnY6ZcRVxSlTqrD6MhZdCGL6Xw/ir4yfLnfHXHpkxnzcr5N/PY9jjP3bHRuD+G9ErXENW07UJ1OR55JJJp4eMrth7r2PnHiHjvEadOdncUVHmWOZNtNZ1w/Pbus6pFhsbO3clVpyzjoV4w4b0WncT1bUdQnT538kUm28JbLq2+v1PPDvHeITpws7eip8vVtrCz1flt3fTIvrKgpOrUljJzit8P4r+Any525uuPXB9Hhzcq59+uNvYr8uXP27FhmYgAAAAAAAAAAAAAAAAAAAAAAAAAAAAAAAAAA2vC9aztdZjeajPEKWZ4xlya+VJefM0/oyK41SuK1nKjbr7p/b2ST/AKm/LGUdVnKEKqnU2Wv+CV0eP6N9cVLTVrNRoVE4px3lFNYef5vpjHqVSp4NnbQhWtKmasGnropNa6dvfOeuCUjxaNSThUWIv96kBqw+HVdPnTw2sro8d16F+hLmipYxn4IKSw2i0yPAAAAAACV8N8QW3DeiTnRgp3FWWy7RjHaPM/fLwu2OhVOMcFq8WvIRm+WjBe8m98eySy+uyepKWl3C1otrWT+PUrxFxDbcSaHF3EFC4pSzjtOL2lyvtvh4fl3POEcEq8JvZKm+ajUXvFrVZ9srK90j26vIXVFZ0kvn0ImWwigAAAAAAAAAAAAAAAAAAAAAAAAAAAAAAAADZ22j1a+gVdWj0pzjH3z832bj92RlbiUKd/Ts3vOMn+NvylL8HTC2cqEqvZr/AJ/Q1hJnMAAAAAAAAAAAAAAAADZ8P6PV1q8lb0esacp/VLwr6yaX3IzivEoWFKNSfWUY/l6v2jlnTa2zrycV0Tf+Pk1hJnMAAAAAAAAAAAAAAAAAAAAAAAAAAAADaaFeaZbXHLrGnKrTfVqUlKPtiSTXo/uRfE7a8rU82dbkmvJNP1ym16r8HTbVKUZYqxyvfJ1+z0nTI6R+421tijNZcd9+b3eU/wDB8eueJXrvPr1J/wA2DxnTTHpp+jLXTt6SpckV9r9evycs4puNFjcSs9F0xQ5XiVSTlltPdKLlsvff2PqvBKHEXTVa9r82VlRSjhZ7tLV+mnqVq9nQUnClDGOupHywHAAAAAAAAAAAAAADIsLijbXKqXNpGrHvCTaz9U8p/f2Oe6o1KtNxp1HCXRpJ49msNfj1RspTjGWZRyjrvCFvorsf4jolm6aqbPLefC+m7ffyPkHiGvxFV/4W9qc3LqsYxr10S6d9i1WMKHJ9SlHGfUifGy4f0iu7W00hOtLxOUpT5Y5745vE/RbL8Fu8NPit9TVetcYpLRJKOXju8aL5fluRfEFbUXyxh93vj+5Bi8kKAAAAAAAAAAAAAAAAAAAAAAAAAAAe1nKjG6jK6i3BSTkl1aT3X1Wxqrqo6UlTeJYePJ9H7GdNxU05bEiueOtZq6mrujUUIrZUuscev8z9dvTBXKPhHh8LZ0Jrmk95f6s+Xb01z1yd8+K13U51ou3T3NNrl5R1HVJ3tClyfE8Tj5Sa8W/dOWX26k1w21na20aE5c3Lon3S/p06YWF7HJc1I1KjnFYz+2YB3GgAAAAAAAAAAAAAAAkdfiy8o6fS07SJulTpJeJfNOXWTfknLLx989Cu0/DtvUuKl1drnnNvR7RWyS7tLCz+MEhLiE4wjTpaJfJi8Q65/Ho069xRUa0E4Sa6SXWL9Gnnb1+h08J4SuGupTpyzTk8pPeL2a81tjr37mu6uv4hRlJfctPU0xMnGAAAAAAAAAAAAAAAAAAAAAAAAAAAAAAAAAAAAAAAAAAAAAAAAAAAAAAAAAAAAAAAAAAAAAAAAAAAAAAMpdWAb+10F1uDqusY3jUWP+C2l/dL+wga3F1T4vTsejg8/wDk9V8Rf+474WmbWVXrn4/b+CP5XmT2DgKgAAAAAAAAAAAAAAAAAAG94N0WOu6pKhUfhjTk2/Jtcsf7nn+kgvEPFXw21VVbuUV7ZzL4TXud1ha/XqOL2w/+DR1IypVHTqrEk8NeTXVfcnIyU4qUdU9TjlFxeGUPTEAAAAAAAAAAAAAAAAAAAAAAAA2/D2v3eiV80YKcG/FTktn7eT9V+SJ4rwijxCniTcZLaS0a9e68vw0ddrdzoS0WV2O1QUORQcEsr5f8/k+JTcudzUm8PfX2/sW9YxjByDi7X7vUr2dnKkqdOE3Hkj3cXjLfff6f5PsXAeEULWjGspOcpJPmfZr/AErp/d/BVb67nUm4Ywk9v8kdLCR4AAAAAAAAAAAAAAAAMiwvbjT7pXNpUxJfVP0afVGi5tqVzTdKqsp+34e6NlKrKnLmjudj4V1J6rosb+tbRpuTaeOjw8ZXll9j4zx6x/g72VvCbmks67rKzh+i1zoW2yrfVpKo1jJGv2h69dafcLTrOhGHPDmdTHieW00tvD03fX2LP4R4TRuaX8VVm5crxy64WMb999Ft69I7il1Ok/pxWMrc5yfRivgAAAAAAAAAAAAAAAAAAAAAAAHvZXH7peQuVTUnCSkk+ja3WfTJpuKP1qUqWccyayt9d8eZnTnyTUsbGRW1rUq2p/xKd5L4q6STxj0S6JenQ5qfC7Snbfwsaa+n27+b6589zbK6qyqfUctTy1S+nqV9K8rQSlLHNjo3jDeO2cZ98m2ytI2lGNGDbjHbPRZ0Xtt6GFaq6s3NrVmKdRqAAAAAAAAAAAAAAAAAANhqGsXd9a07OU+WlTilGC6bfqfnJvfL89sEfa8NoW9WddLM5ttye+vRdktsfnJ0VbmdSKhsl0Goaxd6laU6F9PndPKjN/Nh42b/AFdNm9+vU9tOG0LSrOpQXKp4yumV1S6Zzr0226qtzOrBRnrjqa87znAAAAAAAAAAAAAAAAAAAAAAAAAAAAAAAAAAAAAAAAAAAAAAAAAAAAAAAAAAAAAAAAAAAAAAAAAAAAAAMuz02/voOdlZ1KiWz5It4+3Q5bi+trZpVqijnu0s/k2woVKizCLZKrDhS5nwbXqVrSSrOalCLi+bEPTrlqUvfYql14joR4xRhConS5Wm8rGZee2nLH01JSlYSdpNuP3Z/t+2Re60jUrSj8a7sKkIrvKDS+7RaKHErOvPkpVYyfZNN/BGTt6sFmUWkYR2mkAAAAAAAAAAAAAHtaWlze1fhWlCU5YziKy/sjTXuKVCHPVkoru3hfkzhTlN4issl3BXC1zXv6j1WynCCpSiueLWXNcu2VviOfwVHxH4ho0qEP4WopS54t4aekXnXHdpfJK8PsZSnL6kWlh/JHqvD2s0W1PTKuI5y+R4275x09Sw0+NcPqY5a8cvGnMs69MZ3OCVnXTf2P8ADNYSZzAAAAAAAAAAAAAAAAAAAAAAAAAAAGXpd7e2F9GtptVxqZwsd89mu6b7M5L21t7mi6dxFOPn080+mO5uoValOadN6na/4pZ0LuGn3d3BVpRzy5xl9/bL6JvL9T4k+HXFSlO5o026Sb18v1x1a0XXBcPrwjJU5SXMzkvGN7qFzrtSjqVXPw5uMYraKXbC9Vh56n13w/a2lGxpzto454pt7tvrl+Tyuy6Iq1/VqyrONR7M0ZNnEAAAAAAAAAAAAAC6nUnSqKpSm008pp4afmn2MZwjOLjJZT6PXJ7GTi8o6/oWufA4bo3nEN5GMqnRvZtZxF4Xpu30Se58e4rwj6vEqtDh1NtR3S1SeNcZ89Et29i2W9zy0Izryw2Rf9p19f8A77C0Vf8A0JQU4qPSTzvl/qxs123XuWrwVZ230JVuX+bGTTzuvRdOz67+hG8Xq1OZRz9rRBi8kIAAAAAAAAAAAAAAAAAAAAAAAAAAAelvWqW1eNejLEovKeOjXR/RmurSjVg6c1lNYfmnuZQm4SUlui2pUnVqOpVm228tt5bfnnuZQhGEVGKwl07Hjk5PLPS6uq95V+Lc1HKWEuZ9XhYWX3eNsvyNdGhToR5Kawst46a6vHbXUynUlN5k9TxNxgXzpVIU41JQaUs4fnjZ/kwU4uTinqt/LJk4tJN9SwzMQAAAAAAAVhGU5qEFlt4SPJNRWXsepNvCK1ISp1HTnHDTw15NdRGSklJbMNNPDLT08Pa6uq93UU7io3hKK8klskl2S8kaaNCnRi401jLbfm3u33bM51JTeZMVLqvUto21So3GDbin+nPXHknjoI0KcakqsViUsZffG2fTIdSTiot6I8TcYAAAAAAAAAAAAAAAAAAAAAAAAAAAAAAAA3uicLXet0HUsLug2vmi5NSj7rk/K2ILiXiChw6fLXpzw9mkmn6Pm+Hhndb2E68cwkvn/BMtZ4LrXXD1tZWcoKpR+ZttJ8yzPfG/jxjbpkpnDvFVOjxC4r1k+SpjGMNrl0jpnH9O+u5L1+GudCEI7x/Xf5IDrWk1NHuf3a4uqUp9405N8vvmKSfp1L/w7iMb6n9WnCUY9HJJZ9NW/fbsQVxbuhLlck35GuJE5wAXVKc6cuWpFp4T38msp/VPJjGcZLMXndfh4f4aweuLW5aZHhdTip1FGVRRT7vOF9k39kYzk4xbSz5LGv5aXyj2Ky8N4Jzw1wReU9To39e4ozpKSnmE2843jjw4fix38yi8Z8WUHbVbaEJxqNOP3JLGdHnVvbJN2nC5qpGo2mt9CvE3BF5V1StqFvXowpSfPmc3HGd5Z8OF4s9zzgviy3jbUrapCcqiXL9qTzjbGudsC74ZOVSVSLSW+vyQarBU6jhGopYfVZw/bKT+6L1Tk5RUmsZ6PGV64bXyyEksPCeSwzPAAAAAAAAAAAAAAAAAAAAAAAAAAAAAAAAAAAbvgyDfEVOq6/JGGZzlzYxGO7y/JvEX7kJ4hl/0+pBQ5pS+2KxnLe2F3Wr8sHbw9fz084S1ft+8E/hxfpOsVKmmULmVNyi406r8Kbawmn1i89M4/wCj5+/DF7Yxp3c4Kai05RWuEn1Wz03xnHpqTi4jRrOVOLxnZ7HJ6sJ06jhVWJJtNPz7/k+swlGUVKOz2/Qq8k02nuWmR4SbTOCdQ1OjG4trmjKnJrMozeV57cuzXkytXvim0s5ypVYyU10a37a52fdElR4ZUqpSi00SXjHg261O/hcaVyJKmoSUnj5do9v5dvois+HvFNC1oSp3beeZtYWf6tX175fuSN9w2VWalTxtj8HPL+0djdO3lXhNrq4PKz5Zxv8AQ+h2twrimqii4p91h/jp7kBVp/Tly5T9DHOg1k74J1S24f0GpfahXlipPFOknly5Vu0u2W8N/wC1FE8S8OrcUvqdvbwX2rMpds7Jvd4Syl5k5w+vG3oOdR7vRehXjTVbbiHh6F7p9eX+nPFSk3hrm6NrviSwn/uZ54b4bW4XfzoXEV90ftl3xuk91lPLXl7i/rxuaCnTez1XqQMvhBgAAAAAAAAAAAAAAAAAAAAAAAAAAAAAAAAAAAFctLCYwMlACrbby2EsaIFACXfs7rwsLutqF3dclGEMS32lKT8Kx+p4Tx3Kj4uoyuaNO2ow5qkpaeSX9Tz0WWs9CW4VJU5SqSeIpfv9Tf6vxFacScN16Om15QqRXNyPZyjF5ljD3TjnK+5AcO4HX4TxGjO5ipQk8ZWqjJ7b7Pmwk/xqd1a7hdUJqm8NfK/+HMj6aVsABtvqwMlU2ujGBkoAAAAAAAAAAAAAAAAAAAAAAAAAAAAAAAAAAAAAAAAAAAV5ny8udvI8ws5GXjAjJxlzReGGk1hhNrYoegAAAAAAAAAAAAAAAAAAAAAAAAAAAAAAAAAAAAAAAAAAAAAAAAAAAAAAAAAAAAAAAAAAAAAAAAAAAAAAAAAAAAAAAAAAAAAAAAAAAAAAAAAAAAAAAAAAAAAAAAAAAAAAAAA//9k="/>
          <p:cNvSpPr>
            <a:spLocks noChangeAspect="1" noChangeArrowheads="1"/>
          </p:cNvSpPr>
          <p:nvPr/>
        </p:nvSpPr>
        <p:spPr bwMode="auto">
          <a:xfrm>
            <a:off x="431165" y="8998"/>
            <a:ext cx="426720" cy="3454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17539" tIns="58769" rIns="117539" bIns="58769"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1400" b="1" i="0" u="none" strike="noStrike" kern="1200" cap="none" spc="0" normalizeH="0" baseline="0" noProof="0" dirty="0">
              <a:ln>
                <a:noFill/>
              </a:ln>
              <a:solidFill>
                <a:srgbClr val="002776"/>
              </a:solidFill>
              <a:effectLst/>
              <a:uLnTx/>
              <a:uFillTx/>
              <a:latin typeface="Arial" pitchFamily="34" charset="0"/>
              <a:ea typeface="+mn-ea"/>
              <a:cs typeface="Arial" pitchFamily="34" charset="0"/>
            </a:endParaRPr>
          </a:p>
        </p:txBody>
      </p:sp>
      <p:sp>
        <p:nvSpPr>
          <p:cNvPr id="4" name="Title 3"/>
          <p:cNvSpPr>
            <a:spLocks noGrp="1"/>
          </p:cNvSpPr>
          <p:nvPr>
            <p:ph type="title"/>
          </p:nvPr>
        </p:nvSpPr>
        <p:spPr>
          <a:xfrm>
            <a:off x="554508" y="441119"/>
            <a:ext cx="11662258" cy="381195"/>
          </a:xfrm>
        </p:spPr>
        <p:txBody>
          <a:bodyPr/>
          <a:lstStyle/>
          <a:p>
            <a:pPr lvl="0" defTabSz="990571">
              <a:defRPr/>
            </a:pPr>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rPr>
              <a:t>Evolution or Irrelevance? Audit </a:t>
            </a:r>
            <a:r>
              <a:rPr lang="en-US" sz="24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Teams are at </a:t>
            </a:r>
            <a: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rPr>
              <a:t>a Cross Road</a:t>
            </a:r>
          </a:p>
        </p:txBody>
      </p:sp>
      <p:sp>
        <p:nvSpPr>
          <p:cNvPr id="31" name="Text Placeholder 3"/>
          <p:cNvSpPr txBox="1">
            <a:spLocks/>
          </p:cNvSpPr>
          <p:nvPr/>
        </p:nvSpPr>
        <p:spPr>
          <a:xfrm>
            <a:off x="513605" y="901736"/>
            <a:ext cx="9765750" cy="834733"/>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None/>
              <a:defRPr sz="2205" b="0" kern="1200">
                <a:solidFill>
                  <a:srgbClr val="BBBCBC"/>
                </a:solidFill>
                <a:latin typeface="+mn-lt"/>
                <a:ea typeface="+mn-ea"/>
                <a:cs typeface="+mn-cs"/>
              </a:defRPr>
            </a:lvl1pPr>
            <a:lvl2pPr marL="0" indent="0" algn="l" defTabSz="990571" rtl="0" eaLnBrk="1" latinLnBrk="0" hangingPunct="1">
              <a:spcBef>
                <a:spcPts val="0"/>
              </a:spcBef>
              <a:spcAft>
                <a:spcPts val="1083"/>
              </a:spcAft>
              <a:buClrTx/>
              <a:buSzPct val="100000"/>
              <a:buFont typeface="Arial"/>
              <a:buNone/>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9pPr>
          </a:lstStyle>
          <a:p>
            <a:pPr marL="0" lvl="0" defTabSz="1175513">
              <a:spcBef>
                <a:spcPts val="2829"/>
              </a:spcBef>
              <a:spcAft>
                <a:spcPct val="0"/>
              </a:spcAft>
              <a:buClrTx/>
              <a:buSzPct val="100000"/>
              <a:buFont typeface="Arial" pitchFamily="34" charset="0"/>
              <a:buNone/>
              <a:defRPr/>
            </a:pPr>
            <a:r>
              <a:rPr lang="en-US" sz="2300" b="1" i="1" dirty="0">
                <a:solidFill>
                  <a:schemeClr val="accent2"/>
                </a:solidFill>
                <a:latin typeface="+mj-lt"/>
                <a:cs typeface="Arial" pitchFamily="34" charset="0"/>
              </a:rPr>
              <a:t>Some concerns that the Audit Committees will need to ensure to stay relevant and dynamic include;</a:t>
            </a:r>
          </a:p>
        </p:txBody>
      </p:sp>
      <p:grpSp>
        <p:nvGrpSpPr>
          <p:cNvPr id="38" name="Group 37"/>
          <p:cNvGrpSpPr/>
          <p:nvPr/>
        </p:nvGrpSpPr>
        <p:grpSpPr>
          <a:xfrm>
            <a:off x="349238" y="2008290"/>
            <a:ext cx="11632882" cy="4543553"/>
            <a:chOff x="167232" y="2191076"/>
            <a:chExt cx="9158572" cy="4364511"/>
          </a:xfrm>
        </p:grpSpPr>
        <p:sp>
          <p:nvSpPr>
            <p:cNvPr id="39" name="Text Placeholder 3"/>
            <p:cNvSpPr txBox="1">
              <a:spLocks/>
            </p:cNvSpPr>
            <p:nvPr/>
          </p:nvSpPr>
          <p:spPr>
            <a:xfrm>
              <a:off x="191296" y="2191076"/>
              <a:ext cx="4259302" cy="414085"/>
            </a:xfrm>
            <a:prstGeom prst="rect">
              <a:avLst/>
            </a:prstGeom>
          </p:spPr>
          <p:txBody>
            <a:bodyPr vert="horz" lIns="0" tIns="0" rIns="0" bIns="0" rtlCol="0" anchor="ctr">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83142" fontAlgn="auto">
                <a:spcBef>
                  <a:spcPts val="4658"/>
                </a:spcBef>
                <a:spcAft>
                  <a:spcPts val="0"/>
                </a:spcAft>
              </a:pPr>
              <a:r>
                <a:rPr lang="en-US" dirty="0" smtClean="0">
                  <a:solidFill>
                    <a:prstClr val="white"/>
                  </a:solidFill>
                  <a:latin typeface="Verdana"/>
                  <a:ea typeface="Verdana" panose="020B0604030504040204" pitchFamily="34" charset="0"/>
                  <a:cs typeface="Verdana" panose="020B0604030504040204" pitchFamily="34" charset="0"/>
                </a:rPr>
                <a:t>Chief Audit Executives (CAE)s </a:t>
              </a:r>
              <a:r>
                <a:rPr lang="en-US" dirty="0">
                  <a:solidFill>
                    <a:prstClr val="white"/>
                  </a:solidFill>
                  <a:latin typeface="Verdana"/>
                  <a:ea typeface="Verdana" panose="020B0604030504040204" pitchFamily="34" charset="0"/>
                  <a:cs typeface="Verdana" panose="020B0604030504040204" pitchFamily="34" charset="0"/>
                </a:rPr>
                <a:t>recognize the need for </a:t>
              </a:r>
              <a:r>
                <a:rPr lang="en-US" dirty="0" smtClean="0">
                  <a:solidFill>
                    <a:prstClr val="white"/>
                  </a:solidFill>
                  <a:latin typeface="Verdana"/>
                  <a:ea typeface="Verdana" panose="020B0604030504040204" pitchFamily="34" charset="0"/>
                  <a:cs typeface="Verdana" panose="020B0604030504040204" pitchFamily="34" charset="0"/>
                </a:rPr>
                <a:t>change</a:t>
              </a:r>
              <a:endParaRPr lang="en-US" dirty="0">
                <a:solidFill>
                  <a:prstClr val="white"/>
                </a:solidFill>
                <a:latin typeface="Verdana"/>
                <a:ea typeface="Verdana" panose="020B0604030504040204" pitchFamily="34" charset="0"/>
                <a:cs typeface="Verdana" panose="020B0604030504040204" pitchFamily="34" charset="0"/>
              </a:endParaRPr>
            </a:p>
          </p:txBody>
        </p:sp>
        <p:grpSp>
          <p:nvGrpSpPr>
            <p:cNvPr id="40" name="Group 121"/>
            <p:cNvGrpSpPr>
              <a:grpSpLocks noChangeAspect="1"/>
            </p:cNvGrpSpPr>
            <p:nvPr/>
          </p:nvGrpSpPr>
          <p:grpSpPr bwMode="auto">
            <a:xfrm>
              <a:off x="431511" y="2225235"/>
              <a:ext cx="414085" cy="414085"/>
              <a:chOff x="1929" y="393"/>
              <a:chExt cx="340" cy="340"/>
            </a:xfrm>
            <a:solidFill>
              <a:sysClr val="window" lastClr="FFFFFF">
                <a:lumMod val="75000"/>
              </a:sysClr>
            </a:solidFill>
          </p:grpSpPr>
          <p:sp>
            <p:nvSpPr>
              <p:cNvPr id="91" name="Freeform 122"/>
              <p:cNvSpPr>
                <a:spLocks noEditPoints="1"/>
              </p:cNvSpPr>
              <p:nvPr/>
            </p:nvSpPr>
            <p:spPr bwMode="auto">
              <a:xfrm>
                <a:off x="2017" y="499"/>
                <a:ext cx="188" cy="128"/>
              </a:xfrm>
              <a:custGeom>
                <a:avLst/>
                <a:gdLst>
                  <a:gd name="T0" fmla="*/ 232 w 283"/>
                  <a:gd name="T1" fmla="*/ 96 h 192"/>
                  <a:gd name="T2" fmla="*/ 156 w 283"/>
                  <a:gd name="T3" fmla="*/ 21 h 192"/>
                  <a:gd name="T4" fmla="*/ 126 w 283"/>
                  <a:gd name="T5" fmla="*/ 27 h 192"/>
                  <a:gd name="T6" fmla="*/ 80 w 283"/>
                  <a:gd name="T7" fmla="*/ 0 h 192"/>
                  <a:gd name="T8" fmla="*/ 27 w 283"/>
                  <a:gd name="T9" fmla="*/ 53 h 192"/>
                  <a:gd name="T10" fmla="*/ 31 w 283"/>
                  <a:gd name="T11" fmla="*/ 74 h 192"/>
                  <a:gd name="T12" fmla="*/ 0 w 283"/>
                  <a:gd name="T13" fmla="*/ 128 h 192"/>
                  <a:gd name="T14" fmla="*/ 63 w 283"/>
                  <a:gd name="T15" fmla="*/ 192 h 192"/>
                  <a:gd name="T16" fmla="*/ 235 w 283"/>
                  <a:gd name="T17" fmla="*/ 192 h 192"/>
                  <a:gd name="T18" fmla="*/ 283 w 283"/>
                  <a:gd name="T19" fmla="*/ 144 h 192"/>
                  <a:gd name="T20" fmla="*/ 232 w 283"/>
                  <a:gd name="T21" fmla="*/ 96 h 192"/>
                  <a:gd name="T22" fmla="*/ 80 w 283"/>
                  <a:gd name="T23" fmla="*/ 21 h 192"/>
                  <a:gd name="T24" fmla="*/ 108 w 283"/>
                  <a:gd name="T25" fmla="*/ 37 h 192"/>
                  <a:gd name="T26" fmla="*/ 83 w 283"/>
                  <a:gd name="T27" fmla="*/ 69 h 192"/>
                  <a:gd name="T28" fmla="*/ 63 w 283"/>
                  <a:gd name="T29" fmla="*/ 65 h 192"/>
                  <a:gd name="T30" fmla="*/ 51 w 283"/>
                  <a:gd name="T31" fmla="*/ 66 h 192"/>
                  <a:gd name="T32" fmla="*/ 48 w 283"/>
                  <a:gd name="T33" fmla="*/ 53 h 192"/>
                  <a:gd name="T34" fmla="*/ 80 w 283"/>
                  <a:gd name="T35" fmla="*/ 21 h 192"/>
                  <a:gd name="T36" fmla="*/ 235 w 283"/>
                  <a:gd name="T37" fmla="*/ 170 h 192"/>
                  <a:gd name="T38" fmla="*/ 63 w 283"/>
                  <a:gd name="T39" fmla="*/ 170 h 192"/>
                  <a:gd name="T40" fmla="*/ 21 w 283"/>
                  <a:gd name="T41" fmla="*/ 128 h 192"/>
                  <a:gd name="T42" fmla="*/ 63 w 283"/>
                  <a:gd name="T43" fmla="*/ 86 h 192"/>
                  <a:gd name="T44" fmla="*/ 84 w 283"/>
                  <a:gd name="T45" fmla="*/ 93 h 192"/>
                  <a:gd name="T46" fmla="*/ 94 w 283"/>
                  <a:gd name="T47" fmla="*/ 94 h 192"/>
                  <a:gd name="T48" fmla="*/ 100 w 283"/>
                  <a:gd name="T49" fmla="*/ 87 h 192"/>
                  <a:gd name="T50" fmla="*/ 156 w 283"/>
                  <a:gd name="T51" fmla="*/ 42 h 192"/>
                  <a:gd name="T52" fmla="*/ 211 w 283"/>
                  <a:gd name="T53" fmla="*/ 98 h 192"/>
                  <a:gd name="T54" fmla="*/ 210 w 283"/>
                  <a:gd name="T55" fmla="*/ 105 h 192"/>
                  <a:gd name="T56" fmla="*/ 214 w 283"/>
                  <a:gd name="T57" fmla="*/ 120 h 192"/>
                  <a:gd name="T58" fmla="*/ 227 w 283"/>
                  <a:gd name="T59" fmla="*/ 119 h 192"/>
                  <a:gd name="T60" fmla="*/ 229 w 283"/>
                  <a:gd name="T61" fmla="*/ 118 h 192"/>
                  <a:gd name="T62" fmla="*/ 235 w 283"/>
                  <a:gd name="T63" fmla="*/ 117 h 192"/>
                  <a:gd name="T64" fmla="*/ 261 w 283"/>
                  <a:gd name="T65" fmla="*/ 144 h 192"/>
                  <a:gd name="T66" fmla="*/ 235 w 283"/>
                  <a:gd name="T67"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3" h="192">
                    <a:moveTo>
                      <a:pt x="232" y="96"/>
                    </a:moveTo>
                    <a:cubicBezTo>
                      <a:pt x="231" y="54"/>
                      <a:pt x="197" y="21"/>
                      <a:pt x="156" y="21"/>
                    </a:cubicBezTo>
                    <a:cubicBezTo>
                      <a:pt x="145" y="21"/>
                      <a:pt x="135" y="23"/>
                      <a:pt x="126" y="27"/>
                    </a:cubicBezTo>
                    <a:cubicBezTo>
                      <a:pt x="117" y="10"/>
                      <a:pt x="100" y="0"/>
                      <a:pt x="80" y="0"/>
                    </a:cubicBezTo>
                    <a:cubicBezTo>
                      <a:pt x="51" y="0"/>
                      <a:pt x="27" y="24"/>
                      <a:pt x="27" y="53"/>
                    </a:cubicBezTo>
                    <a:cubicBezTo>
                      <a:pt x="27" y="60"/>
                      <a:pt x="28" y="67"/>
                      <a:pt x="31" y="74"/>
                    </a:cubicBezTo>
                    <a:cubicBezTo>
                      <a:pt x="13" y="85"/>
                      <a:pt x="0" y="105"/>
                      <a:pt x="0" y="128"/>
                    </a:cubicBezTo>
                    <a:cubicBezTo>
                      <a:pt x="0" y="163"/>
                      <a:pt x="28" y="192"/>
                      <a:pt x="63" y="192"/>
                    </a:cubicBezTo>
                    <a:cubicBezTo>
                      <a:pt x="235" y="192"/>
                      <a:pt x="235" y="192"/>
                      <a:pt x="235" y="192"/>
                    </a:cubicBezTo>
                    <a:cubicBezTo>
                      <a:pt x="261" y="192"/>
                      <a:pt x="283" y="170"/>
                      <a:pt x="283" y="144"/>
                    </a:cubicBezTo>
                    <a:cubicBezTo>
                      <a:pt x="283" y="116"/>
                      <a:pt x="259" y="94"/>
                      <a:pt x="232" y="96"/>
                    </a:cubicBezTo>
                    <a:close/>
                    <a:moveTo>
                      <a:pt x="80" y="21"/>
                    </a:moveTo>
                    <a:cubicBezTo>
                      <a:pt x="92" y="21"/>
                      <a:pt x="102" y="27"/>
                      <a:pt x="108" y="37"/>
                    </a:cubicBezTo>
                    <a:cubicBezTo>
                      <a:pt x="97" y="45"/>
                      <a:pt x="89" y="56"/>
                      <a:pt x="83" y="69"/>
                    </a:cubicBezTo>
                    <a:cubicBezTo>
                      <a:pt x="78" y="66"/>
                      <a:pt x="71" y="65"/>
                      <a:pt x="63" y="65"/>
                    </a:cubicBezTo>
                    <a:cubicBezTo>
                      <a:pt x="59" y="65"/>
                      <a:pt x="55" y="65"/>
                      <a:pt x="51" y="66"/>
                    </a:cubicBezTo>
                    <a:cubicBezTo>
                      <a:pt x="49" y="62"/>
                      <a:pt x="48" y="58"/>
                      <a:pt x="48" y="53"/>
                    </a:cubicBezTo>
                    <a:cubicBezTo>
                      <a:pt x="48" y="35"/>
                      <a:pt x="62" y="21"/>
                      <a:pt x="80" y="21"/>
                    </a:cubicBezTo>
                    <a:close/>
                    <a:moveTo>
                      <a:pt x="235" y="170"/>
                    </a:moveTo>
                    <a:cubicBezTo>
                      <a:pt x="63" y="170"/>
                      <a:pt x="63" y="170"/>
                      <a:pt x="63" y="170"/>
                    </a:cubicBezTo>
                    <a:cubicBezTo>
                      <a:pt x="40" y="170"/>
                      <a:pt x="21" y="151"/>
                      <a:pt x="21" y="128"/>
                    </a:cubicBezTo>
                    <a:cubicBezTo>
                      <a:pt x="21" y="105"/>
                      <a:pt x="40" y="86"/>
                      <a:pt x="63" y="86"/>
                    </a:cubicBezTo>
                    <a:cubicBezTo>
                      <a:pt x="72" y="86"/>
                      <a:pt x="77" y="89"/>
                      <a:pt x="84" y="93"/>
                    </a:cubicBezTo>
                    <a:cubicBezTo>
                      <a:pt x="87" y="95"/>
                      <a:pt x="91" y="96"/>
                      <a:pt x="94" y="94"/>
                    </a:cubicBezTo>
                    <a:cubicBezTo>
                      <a:pt x="97" y="93"/>
                      <a:pt x="99" y="90"/>
                      <a:pt x="100" y="87"/>
                    </a:cubicBezTo>
                    <a:cubicBezTo>
                      <a:pt x="105" y="61"/>
                      <a:pt x="129" y="42"/>
                      <a:pt x="156" y="42"/>
                    </a:cubicBezTo>
                    <a:cubicBezTo>
                      <a:pt x="186" y="42"/>
                      <a:pt x="211" y="67"/>
                      <a:pt x="211" y="98"/>
                    </a:cubicBezTo>
                    <a:cubicBezTo>
                      <a:pt x="211" y="100"/>
                      <a:pt x="211" y="103"/>
                      <a:pt x="210" y="105"/>
                    </a:cubicBezTo>
                    <a:cubicBezTo>
                      <a:pt x="208" y="112"/>
                      <a:pt x="209" y="116"/>
                      <a:pt x="214" y="120"/>
                    </a:cubicBezTo>
                    <a:cubicBezTo>
                      <a:pt x="217" y="122"/>
                      <a:pt x="223" y="122"/>
                      <a:pt x="227" y="119"/>
                    </a:cubicBezTo>
                    <a:cubicBezTo>
                      <a:pt x="228" y="118"/>
                      <a:pt x="229" y="118"/>
                      <a:pt x="229" y="118"/>
                    </a:cubicBezTo>
                    <a:cubicBezTo>
                      <a:pt x="231" y="117"/>
                      <a:pt x="233" y="117"/>
                      <a:pt x="235" y="117"/>
                    </a:cubicBezTo>
                    <a:cubicBezTo>
                      <a:pt x="249" y="117"/>
                      <a:pt x="261" y="129"/>
                      <a:pt x="261" y="144"/>
                    </a:cubicBezTo>
                    <a:cubicBezTo>
                      <a:pt x="261" y="158"/>
                      <a:pt x="249" y="170"/>
                      <a:pt x="235"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marL="0" marR="0" lvl="0" indent="0" algn="l" defTabSz="787481" eaLnBrk="1" fontAlgn="auto" latinLnBrk="0" hangingPunct="1">
                  <a:lnSpc>
                    <a:spcPct val="100000"/>
                  </a:lnSpc>
                  <a:spcBef>
                    <a:spcPts val="0"/>
                  </a:spcBef>
                  <a:spcAft>
                    <a:spcPts val="0"/>
                  </a:spcAft>
                  <a:buClrTx/>
                  <a:buSzTx/>
                  <a:buFontTx/>
                  <a:buNone/>
                  <a:tabLst/>
                  <a:defRPr/>
                </a:pPr>
                <a:endParaRPr kumimoji="0" lang="en-GB" sz="4800" b="0" i="0" u="none" strike="noStrike" kern="0" cap="none" spc="0" normalizeH="0" baseline="0" noProof="0" dirty="0" smtClean="0">
                  <a:ln>
                    <a:noFill/>
                  </a:ln>
                  <a:solidFill>
                    <a:prstClr val="white"/>
                  </a:solidFill>
                  <a:effectLst/>
                  <a:uLnTx/>
                  <a:uFillTx/>
                  <a:latin typeface="Verdana"/>
                  <a:cs typeface="+mn-cs"/>
                </a:endParaRPr>
              </a:p>
            </p:txBody>
          </p:sp>
          <p:sp>
            <p:nvSpPr>
              <p:cNvPr id="92" name="Freeform 123"/>
              <p:cNvSpPr>
                <a:spLocks/>
              </p:cNvSpPr>
              <p:nvPr/>
            </p:nvSpPr>
            <p:spPr bwMode="auto">
              <a:xfrm>
                <a:off x="2063" y="457"/>
                <a:ext cx="15" cy="28"/>
              </a:xfrm>
              <a:custGeom>
                <a:avLst/>
                <a:gdLst>
                  <a:gd name="T0" fmla="*/ 11 w 22"/>
                  <a:gd name="T1" fmla="*/ 42 h 42"/>
                  <a:gd name="T2" fmla="*/ 22 w 22"/>
                  <a:gd name="T3" fmla="*/ 32 h 42"/>
                  <a:gd name="T4" fmla="*/ 22 w 22"/>
                  <a:gd name="T5" fmla="*/ 10 h 42"/>
                  <a:gd name="T6" fmla="*/ 11 w 22"/>
                  <a:gd name="T7" fmla="*/ 0 h 42"/>
                  <a:gd name="T8" fmla="*/ 0 w 22"/>
                  <a:gd name="T9" fmla="*/ 10 h 42"/>
                  <a:gd name="T10" fmla="*/ 0 w 22"/>
                  <a:gd name="T11" fmla="*/ 32 h 42"/>
                  <a:gd name="T12" fmla="*/ 11 w 2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2" h="42">
                    <a:moveTo>
                      <a:pt x="11" y="42"/>
                    </a:moveTo>
                    <a:cubicBezTo>
                      <a:pt x="17" y="42"/>
                      <a:pt x="22" y="38"/>
                      <a:pt x="22" y="32"/>
                    </a:cubicBezTo>
                    <a:cubicBezTo>
                      <a:pt x="22" y="10"/>
                      <a:pt x="22" y="10"/>
                      <a:pt x="22" y="10"/>
                    </a:cubicBezTo>
                    <a:cubicBezTo>
                      <a:pt x="22" y="4"/>
                      <a:pt x="17" y="0"/>
                      <a:pt x="11" y="0"/>
                    </a:cubicBezTo>
                    <a:cubicBezTo>
                      <a:pt x="5" y="0"/>
                      <a:pt x="0" y="4"/>
                      <a:pt x="0" y="10"/>
                    </a:cubicBezTo>
                    <a:cubicBezTo>
                      <a:pt x="0" y="32"/>
                      <a:pt x="0" y="32"/>
                      <a:pt x="0" y="32"/>
                    </a:cubicBezTo>
                    <a:cubicBezTo>
                      <a:pt x="0" y="38"/>
                      <a:pt x="5" y="42"/>
                      <a:pt x="1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marL="0" marR="0" lvl="0" indent="0" algn="l" defTabSz="787481" eaLnBrk="1" fontAlgn="auto" latinLnBrk="0" hangingPunct="1">
                  <a:lnSpc>
                    <a:spcPct val="100000"/>
                  </a:lnSpc>
                  <a:spcBef>
                    <a:spcPts val="0"/>
                  </a:spcBef>
                  <a:spcAft>
                    <a:spcPts val="0"/>
                  </a:spcAft>
                  <a:buClrTx/>
                  <a:buSzTx/>
                  <a:buFontTx/>
                  <a:buNone/>
                  <a:tabLst/>
                  <a:defRPr/>
                </a:pPr>
                <a:endParaRPr kumimoji="0" lang="en-GB" sz="4800" b="0" i="0" u="none" strike="noStrike" kern="0" cap="none" spc="0" normalizeH="0" baseline="0" noProof="0" dirty="0" smtClean="0">
                  <a:ln>
                    <a:noFill/>
                  </a:ln>
                  <a:solidFill>
                    <a:prstClr val="white"/>
                  </a:solidFill>
                  <a:effectLst/>
                  <a:uLnTx/>
                  <a:uFillTx/>
                  <a:latin typeface="Verdana"/>
                  <a:cs typeface="+mn-cs"/>
                </a:endParaRPr>
              </a:p>
            </p:txBody>
          </p:sp>
          <p:sp>
            <p:nvSpPr>
              <p:cNvPr id="93" name="Freeform 124"/>
              <p:cNvSpPr>
                <a:spLocks/>
              </p:cNvSpPr>
              <p:nvPr/>
            </p:nvSpPr>
            <p:spPr bwMode="auto">
              <a:xfrm>
                <a:off x="1993" y="527"/>
                <a:ext cx="28" cy="15"/>
              </a:xfrm>
              <a:custGeom>
                <a:avLst/>
                <a:gdLst>
                  <a:gd name="T0" fmla="*/ 42 w 42"/>
                  <a:gd name="T1" fmla="*/ 11 h 22"/>
                  <a:gd name="T2" fmla="*/ 32 w 42"/>
                  <a:gd name="T3" fmla="*/ 0 h 22"/>
                  <a:gd name="T4" fmla="*/ 10 w 42"/>
                  <a:gd name="T5" fmla="*/ 0 h 22"/>
                  <a:gd name="T6" fmla="*/ 0 w 42"/>
                  <a:gd name="T7" fmla="*/ 11 h 22"/>
                  <a:gd name="T8" fmla="*/ 10 w 42"/>
                  <a:gd name="T9" fmla="*/ 22 h 22"/>
                  <a:gd name="T10" fmla="*/ 32 w 42"/>
                  <a:gd name="T11" fmla="*/ 22 h 22"/>
                  <a:gd name="T12" fmla="*/ 42 w 42"/>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42" h="22">
                    <a:moveTo>
                      <a:pt x="42" y="11"/>
                    </a:moveTo>
                    <a:cubicBezTo>
                      <a:pt x="42" y="5"/>
                      <a:pt x="38" y="0"/>
                      <a:pt x="32" y="0"/>
                    </a:cubicBezTo>
                    <a:cubicBezTo>
                      <a:pt x="10" y="0"/>
                      <a:pt x="10" y="0"/>
                      <a:pt x="10" y="0"/>
                    </a:cubicBezTo>
                    <a:cubicBezTo>
                      <a:pt x="4" y="0"/>
                      <a:pt x="0" y="5"/>
                      <a:pt x="0" y="11"/>
                    </a:cubicBezTo>
                    <a:cubicBezTo>
                      <a:pt x="0" y="17"/>
                      <a:pt x="4" y="22"/>
                      <a:pt x="10" y="22"/>
                    </a:cubicBezTo>
                    <a:cubicBezTo>
                      <a:pt x="32" y="22"/>
                      <a:pt x="32" y="22"/>
                      <a:pt x="32" y="22"/>
                    </a:cubicBezTo>
                    <a:cubicBezTo>
                      <a:pt x="38" y="22"/>
                      <a:pt x="42" y="17"/>
                      <a:pt x="4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marL="0" marR="0" lvl="0" indent="0" algn="l" defTabSz="787481" eaLnBrk="1" fontAlgn="auto" latinLnBrk="0" hangingPunct="1">
                  <a:lnSpc>
                    <a:spcPct val="100000"/>
                  </a:lnSpc>
                  <a:spcBef>
                    <a:spcPts val="0"/>
                  </a:spcBef>
                  <a:spcAft>
                    <a:spcPts val="0"/>
                  </a:spcAft>
                  <a:buClrTx/>
                  <a:buSzTx/>
                  <a:buFontTx/>
                  <a:buNone/>
                  <a:tabLst/>
                  <a:defRPr/>
                </a:pPr>
                <a:endParaRPr kumimoji="0" lang="en-GB" sz="4800" b="0" i="0" u="none" strike="noStrike" kern="0" cap="none" spc="0" normalizeH="0" baseline="0" noProof="0" dirty="0" smtClean="0">
                  <a:ln>
                    <a:noFill/>
                  </a:ln>
                  <a:solidFill>
                    <a:prstClr val="white"/>
                  </a:solidFill>
                  <a:effectLst/>
                  <a:uLnTx/>
                  <a:uFillTx/>
                  <a:latin typeface="Verdana"/>
                  <a:cs typeface="+mn-cs"/>
                </a:endParaRPr>
              </a:p>
            </p:txBody>
          </p:sp>
          <p:sp>
            <p:nvSpPr>
              <p:cNvPr id="94" name="Freeform 125"/>
              <p:cNvSpPr>
                <a:spLocks/>
              </p:cNvSpPr>
              <p:nvPr/>
            </p:nvSpPr>
            <p:spPr bwMode="auto">
              <a:xfrm>
                <a:off x="2013" y="477"/>
                <a:ext cx="25" cy="24"/>
              </a:xfrm>
              <a:custGeom>
                <a:avLst/>
                <a:gdLst>
                  <a:gd name="T0" fmla="*/ 19 w 38"/>
                  <a:gd name="T1" fmla="*/ 34 h 37"/>
                  <a:gd name="T2" fmla="*/ 27 w 38"/>
                  <a:gd name="T3" fmla="*/ 37 h 37"/>
                  <a:gd name="T4" fmla="*/ 34 w 38"/>
                  <a:gd name="T5" fmla="*/ 34 h 37"/>
                  <a:gd name="T6" fmla="*/ 34 w 38"/>
                  <a:gd name="T7" fmla="*/ 19 h 37"/>
                  <a:gd name="T8" fmla="*/ 19 w 38"/>
                  <a:gd name="T9" fmla="*/ 4 h 37"/>
                  <a:gd name="T10" fmla="*/ 4 w 38"/>
                  <a:gd name="T11" fmla="*/ 4 h 37"/>
                  <a:gd name="T12" fmla="*/ 4 w 38"/>
                  <a:gd name="T13" fmla="*/ 19 h 37"/>
                  <a:gd name="T14" fmla="*/ 19 w 38"/>
                  <a:gd name="T15" fmla="*/ 34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7">
                    <a:moveTo>
                      <a:pt x="19" y="34"/>
                    </a:moveTo>
                    <a:cubicBezTo>
                      <a:pt x="21" y="36"/>
                      <a:pt x="24" y="37"/>
                      <a:pt x="27" y="37"/>
                    </a:cubicBezTo>
                    <a:cubicBezTo>
                      <a:pt x="29" y="37"/>
                      <a:pt x="32" y="36"/>
                      <a:pt x="34" y="34"/>
                    </a:cubicBezTo>
                    <a:cubicBezTo>
                      <a:pt x="38" y="30"/>
                      <a:pt x="38" y="23"/>
                      <a:pt x="34" y="19"/>
                    </a:cubicBezTo>
                    <a:cubicBezTo>
                      <a:pt x="19" y="4"/>
                      <a:pt x="19" y="4"/>
                      <a:pt x="19" y="4"/>
                    </a:cubicBezTo>
                    <a:cubicBezTo>
                      <a:pt x="15" y="0"/>
                      <a:pt x="8" y="0"/>
                      <a:pt x="4" y="4"/>
                    </a:cubicBezTo>
                    <a:cubicBezTo>
                      <a:pt x="0" y="8"/>
                      <a:pt x="0" y="15"/>
                      <a:pt x="4" y="19"/>
                    </a:cubicBezTo>
                    <a:lnTo>
                      <a:pt x="19"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marL="0" marR="0" lvl="0" indent="0" algn="l" defTabSz="787481" eaLnBrk="1" fontAlgn="auto" latinLnBrk="0" hangingPunct="1">
                  <a:lnSpc>
                    <a:spcPct val="100000"/>
                  </a:lnSpc>
                  <a:spcBef>
                    <a:spcPts val="0"/>
                  </a:spcBef>
                  <a:spcAft>
                    <a:spcPts val="0"/>
                  </a:spcAft>
                  <a:buClrTx/>
                  <a:buSzTx/>
                  <a:buFontTx/>
                  <a:buNone/>
                  <a:tabLst/>
                  <a:defRPr/>
                </a:pPr>
                <a:endParaRPr kumimoji="0" lang="en-GB" sz="4800" b="0" i="0" u="none" strike="noStrike" kern="0" cap="none" spc="0" normalizeH="0" baseline="0" noProof="0" dirty="0" smtClean="0">
                  <a:ln>
                    <a:noFill/>
                  </a:ln>
                  <a:solidFill>
                    <a:prstClr val="white"/>
                  </a:solidFill>
                  <a:effectLst/>
                  <a:uLnTx/>
                  <a:uFillTx/>
                  <a:latin typeface="Verdana"/>
                  <a:cs typeface="+mn-cs"/>
                </a:endParaRPr>
              </a:p>
            </p:txBody>
          </p:sp>
          <p:sp>
            <p:nvSpPr>
              <p:cNvPr id="95" name="Freeform 126"/>
              <p:cNvSpPr>
                <a:spLocks/>
              </p:cNvSpPr>
              <p:nvPr/>
            </p:nvSpPr>
            <p:spPr bwMode="auto">
              <a:xfrm>
                <a:off x="2103" y="477"/>
                <a:ext cx="25" cy="24"/>
              </a:xfrm>
              <a:custGeom>
                <a:avLst/>
                <a:gdLst>
                  <a:gd name="T0" fmla="*/ 11 w 38"/>
                  <a:gd name="T1" fmla="*/ 37 h 37"/>
                  <a:gd name="T2" fmla="*/ 19 w 38"/>
                  <a:gd name="T3" fmla="*/ 34 h 37"/>
                  <a:gd name="T4" fmla="*/ 34 w 38"/>
                  <a:gd name="T5" fmla="*/ 19 h 37"/>
                  <a:gd name="T6" fmla="*/ 34 w 38"/>
                  <a:gd name="T7" fmla="*/ 4 h 37"/>
                  <a:gd name="T8" fmla="*/ 19 w 38"/>
                  <a:gd name="T9" fmla="*/ 4 h 37"/>
                  <a:gd name="T10" fmla="*/ 4 w 38"/>
                  <a:gd name="T11" fmla="*/ 19 h 37"/>
                  <a:gd name="T12" fmla="*/ 4 w 38"/>
                  <a:gd name="T13" fmla="*/ 34 h 37"/>
                  <a:gd name="T14" fmla="*/ 11 w 38"/>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7">
                    <a:moveTo>
                      <a:pt x="11" y="37"/>
                    </a:moveTo>
                    <a:cubicBezTo>
                      <a:pt x="14" y="37"/>
                      <a:pt x="17" y="36"/>
                      <a:pt x="19" y="34"/>
                    </a:cubicBezTo>
                    <a:cubicBezTo>
                      <a:pt x="34" y="19"/>
                      <a:pt x="34" y="19"/>
                      <a:pt x="34" y="19"/>
                    </a:cubicBezTo>
                    <a:cubicBezTo>
                      <a:pt x="38" y="15"/>
                      <a:pt x="38" y="8"/>
                      <a:pt x="34" y="4"/>
                    </a:cubicBezTo>
                    <a:cubicBezTo>
                      <a:pt x="30" y="0"/>
                      <a:pt x="23" y="0"/>
                      <a:pt x="19" y="4"/>
                    </a:cubicBezTo>
                    <a:cubicBezTo>
                      <a:pt x="4" y="19"/>
                      <a:pt x="4" y="19"/>
                      <a:pt x="4" y="19"/>
                    </a:cubicBezTo>
                    <a:cubicBezTo>
                      <a:pt x="0" y="23"/>
                      <a:pt x="0" y="30"/>
                      <a:pt x="4" y="34"/>
                    </a:cubicBezTo>
                    <a:cubicBezTo>
                      <a:pt x="6" y="36"/>
                      <a:pt x="9" y="37"/>
                      <a:pt x="1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marL="0" marR="0" lvl="0" indent="0" algn="l" defTabSz="787481" eaLnBrk="1" fontAlgn="auto" latinLnBrk="0" hangingPunct="1">
                  <a:lnSpc>
                    <a:spcPct val="100000"/>
                  </a:lnSpc>
                  <a:spcBef>
                    <a:spcPts val="0"/>
                  </a:spcBef>
                  <a:spcAft>
                    <a:spcPts val="0"/>
                  </a:spcAft>
                  <a:buClrTx/>
                  <a:buSzTx/>
                  <a:buFontTx/>
                  <a:buNone/>
                  <a:tabLst/>
                  <a:defRPr/>
                </a:pPr>
                <a:endParaRPr kumimoji="0" lang="en-GB" sz="4800" b="0" i="0" u="none" strike="noStrike" kern="0" cap="none" spc="0" normalizeH="0" baseline="0" noProof="0" dirty="0" smtClean="0">
                  <a:ln>
                    <a:noFill/>
                  </a:ln>
                  <a:solidFill>
                    <a:prstClr val="white"/>
                  </a:solidFill>
                  <a:effectLst/>
                  <a:uLnTx/>
                  <a:uFillTx/>
                  <a:latin typeface="Verdana"/>
                  <a:cs typeface="+mn-cs"/>
                </a:endParaRPr>
              </a:p>
            </p:txBody>
          </p:sp>
          <p:sp>
            <p:nvSpPr>
              <p:cNvPr id="96" name="Freeform 127"/>
              <p:cNvSpPr>
                <a:spLocks noEditPoints="1"/>
              </p:cNvSpPr>
              <p:nvPr/>
            </p:nvSpPr>
            <p:spPr bwMode="auto">
              <a:xfrm>
                <a:off x="1929" y="39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marL="0" marR="0" lvl="0" indent="0" algn="l" defTabSz="787481" eaLnBrk="1" fontAlgn="auto" latinLnBrk="0" hangingPunct="1">
                  <a:lnSpc>
                    <a:spcPct val="100000"/>
                  </a:lnSpc>
                  <a:spcBef>
                    <a:spcPts val="0"/>
                  </a:spcBef>
                  <a:spcAft>
                    <a:spcPts val="0"/>
                  </a:spcAft>
                  <a:buClrTx/>
                  <a:buSzTx/>
                  <a:buFontTx/>
                  <a:buNone/>
                  <a:tabLst/>
                  <a:defRPr/>
                </a:pPr>
                <a:endParaRPr kumimoji="0" lang="en-GB" sz="4800" b="0" i="0" u="none" strike="noStrike" kern="0" cap="none" spc="0" normalizeH="0" baseline="0" noProof="0" dirty="0" smtClean="0">
                  <a:ln>
                    <a:noFill/>
                  </a:ln>
                  <a:solidFill>
                    <a:prstClr val="white"/>
                  </a:solidFill>
                  <a:effectLst/>
                  <a:uLnTx/>
                  <a:uFillTx/>
                  <a:latin typeface="Verdana"/>
                  <a:cs typeface="+mn-cs"/>
                </a:endParaRPr>
              </a:p>
            </p:txBody>
          </p:sp>
        </p:grpSp>
        <p:sp>
          <p:nvSpPr>
            <p:cNvPr id="41" name="Text Placeholder 3"/>
            <p:cNvSpPr txBox="1">
              <a:spLocks/>
            </p:cNvSpPr>
            <p:nvPr/>
          </p:nvSpPr>
          <p:spPr>
            <a:xfrm>
              <a:off x="167238" y="3111291"/>
              <a:ext cx="3253525" cy="414085"/>
            </a:xfrm>
            <a:prstGeom prst="rect">
              <a:avLst/>
            </a:prstGeom>
          </p:spPr>
          <p:txBody>
            <a:bodyPr vert="horz" lIns="0" tIns="0" rIns="0" bIns="0" rtlCol="0" anchor="ctr">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83142" fontAlgn="auto">
                <a:spcBef>
                  <a:spcPts val="4658"/>
                </a:spcBef>
                <a:spcAft>
                  <a:spcPts val="0"/>
                </a:spcAft>
              </a:pPr>
              <a:r>
                <a:rPr lang="en-US" dirty="0">
                  <a:solidFill>
                    <a:prstClr val="white"/>
                  </a:solidFill>
                  <a:latin typeface="Verdana"/>
                  <a:ea typeface="Verdana" panose="020B0604030504040204" pitchFamily="34" charset="0"/>
                  <a:cs typeface="Verdana" panose="020B0604030504040204" pitchFamily="34" charset="0"/>
                </a:rPr>
                <a:t>Internal Audit needs more impact and influence</a:t>
              </a:r>
            </a:p>
          </p:txBody>
        </p:sp>
        <p:grpSp>
          <p:nvGrpSpPr>
            <p:cNvPr id="42" name="Group 639"/>
            <p:cNvGrpSpPr>
              <a:grpSpLocks noChangeAspect="1"/>
            </p:cNvGrpSpPr>
            <p:nvPr/>
          </p:nvGrpSpPr>
          <p:grpSpPr bwMode="auto">
            <a:xfrm>
              <a:off x="431511" y="3144233"/>
              <a:ext cx="414085" cy="415302"/>
              <a:chOff x="5418" y="2871"/>
              <a:chExt cx="340" cy="341"/>
            </a:xfrm>
            <a:solidFill>
              <a:srgbClr val="3CA4B9"/>
            </a:solidFill>
          </p:grpSpPr>
          <p:sp>
            <p:nvSpPr>
              <p:cNvPr id="89" name="Freeform 640"/>
              <p:cNvSpPr>
                <a:spLocks noEditPoints="1"/>
              </p:cNvSpPr>
              <p:nvPr/>
            </p:nvSpPr>
            <p:spPr bwMode="auto">
              <a:xfrm>
                <a:off x="5481" y="2948"/>
                <a:ext cx="214" cy="157"/>
              </a:xfrm>
              <a:custGeom>
                <a:avLst/>
                <a:gdLst>
                  <a:gd name="T0" fmla="*/ 182 w 322"/>
                  <a:gd name="T1" fmla="*/ 30 h 236"/>
                  <a:gd name="T2" fmla="*/ 175 w 322"/>
                  <a:gd name="T3" fmla="*/ 23 h 236"/>
                  <a:gd name="T4" fmla="*/ 166 w 322"/>
                  <a:gd name="T5" fmla="*/ 24 h 236"/>
                  <a:gd name="T6" fmla="*/ 6 w 322"/>
                  <a:gd name="T7" fmla="*/ 120 h 236"/>
                  <a:gd name="T8" fmla="*/ 1 w 322"/>
                  <a:gd name="T9" fmla="*/ 132 h 236"/>
                  <a:gd name="T10" fmla="*/ 15 w 322"/>
                  <a:gd name="T11" fmla="*/ 185 h 236"/>
                  <a:gd name="T12" fmla="*/ 25 w 322"/>
                  <a:gd name="T13" fmla="*/ 193 h 236"/>
                  <a:gd name="T14" fmla="*/ 75 w 322"/>
                  <a:gd name="T15" fmla="*/ 193 h 236"/>
                  <a:gd name="T16" fmla="*/ 75 w 322"/>
                  <a:gd name="T17" fmla="*/ 193 h 236"/>
                  <a:gd name="T18" fmla="*/ 118 w 322"/>
                  <a:gd name="T19" fmla="*/ 236 h 236"/>
                  <a:gd name="T20" fmla="*/ 161 w 322"/>
                  <a:gd name="T21" fmla="*/ 193 h 236"/>
                  <a:gd name="T22" fmla="*/ 161 w 322"/>
                  <a:gd name="T23" fmla="*/ 193 h 236"/>
                  <a:gd name="T24" fmla="*/ 214 w 322"/>
                  <a:gd name="T25" fmla="*/ 193 h 236"/>
                  <a:gd name="T26" fmla="*/ 214 w 322"/>
                  <a:gd name="T27" fmla="*/ 193 h 236"/>
                  <a:gd name="T28" fmla="*/ 223 w 322"/>
                  <a:gd name="T29" fmla="*/ 189 h 236"/>
                  <a:gd name="T30" fmla="*/ 224 w 322"/>
                  <a:gd name="T31" fmla="*/ 179 h 236"/>
                  <a:gd name="T32" fmla="*/ 182 w 322"/>
                  <a:gd name="T33" fmla="*/ 30 h 236"/>
                  <a:gd name="T34" fmla="*/ 139 w 322"/>
                  <a:gd name="T35" fmla="*/ 193 h 236"/>
                  <a:gd name="T36" fmla="*/ 118 w 322"/>
                  <a:gd name="T37" fmla="*/ 214 h 236"/>
                  <a:gd name="T38" fmla="*/ 97 w 322"/>
                  <a:gd name="T39" fmla="*/ 193 h 236"/>
                  <a:gd name="T40" fmla="*/ 97 w 322"/>
                  <a:gd name="T41" fmla="*/ 193 h 236"/>
                  <a:gd name="T42" fmla="*/ 139 w 322"/>
                  <a:gd name="T43" fmla="*/ 193 h 236"/>
                  <a:gd name="T44" fmla="*/ 139 w 322"/>
                  <a:gd name="T45" fmla="*/ 193 h 236"/>
                  <a:gd name="T46" fmla="*/ 33 w 322"/>
                  <a:gd name="T47" fmla="*/ 172 h 236"/>
                  <a:gd name="T48" fmla="*/ 24 w 322"/>
                  <a:gd name="T49" fmla="*/ 134 h 236"/>
                  <a:gd name="T50" fmla="*/ 165 w 322"/>
                  <a:gd name="T51" fmla="*/ 49 h 236"/>
                  <a:gd name="T52" fmla="*/ 200 w 322"/>
                  <a:gd name="T53" fmla="*/ 172 h 236"/>
                  <a:gd name="T54" fmla="*/ 33 w 322"/>
                  <a:gd name="T55" fmla="*/ 172 h 236"/>
                  <a:gd name="T56" fmla="*/ 238 w 322"/>
                  <a:gd name="T57" fmla="*/ 107 h 236"/>
                  <a:gd name="T58" fmla="*/ 235 w 322"/>
                  <a:gd name="T59" fmla="*/ 108 h 236"/>
                  <a:gd name="T60" fmla="*/ 225 w 322"/>
                  <a:gd name="T61" fmla="*/ 100 h 236"/>
                  <a:gd name="T62" fmla="*/ 232 w 322"/>
                  <a:gd name="T63" fmla="*/ 87 h 236"/>
                  <a:gd name="T64" fmla="*/ 307 w 322"/>
                  <a:gd name="T65" fmla="*/ 65 h 236"/>
                  <a:gd name="T66" fmla="*/ 320 w 322"/>
                  <a:gd name="T67" fmla="*/ 73 h 236"/>
                  <a:gd name="T68" fmla="*/ 313 w 322"/>
                  <a:gd name="T69" fmla="*/ 86 h 236"/>
                  <a:gd name="T70" fmla="*/ 238 w 322"/>
                  <a:gd name="T71" fmla="*/ 107 h 236"/>
                  <a:gd name="T72" fmla="*/ 206 w 322"/>
                  <a:gd name="T73" fmla="*/ 61 h 236"/>
                  <a:gd name="T74" fmla="*/ 207 w 322"/>
                  <a:gd name="T75" fmla="*/ 46 h 236"/>
                  <a:gd name="T76" fmla="*/ 261 w 322"/>
                  <a:gd name="T77" fmla="*/ 3 h 236"/>
                  <a:gd name="T78" fmla="*/ 276 w 322"/>
                  <a:gd name="T79" fmla="*/ 5 h 236"/>
                  <a:gd name="T80" fmla="*/ 274 w 322"/>
                  <a:gd name="T81" fmla="*/ 20 h 236"/>
                  <a:gd name="T82" fmla="*/ 221 w 322"/>
                  <a:gd name="T83" fmla="*/ 63 h 236"/>
                  <a:gd name="T84" fmla="*/ 214 w 322"/>
                  <a:gd name="T85" fmla="*/ 65 h 236"/>
                  <a:gd name="T86" fmla="*/ 206 w 322"/>
                  <a:gd name="T87" fmla="*/ 61 h 236"/>
                  <a:gd name="T88" fmla="*/ 321 w 322"/>
                  <a:gd name="T89" fmla="*/ 163 h 236"/>
                  <a:gd name="T90" fmla="*/ 310 w 322"/>
                  <a:gd name="T91" fmla="*/ 172 h 236"/>
                  <a:gd name="T92" fmla="*/ 308 w 322"/>
                  <a:gd name="T93" fmla="*/ 172 h 236"/>
                  <a:gd name="T94" fmla="*/ 244 w 322"/>
                  <a:gd name="T95" fmla="*/ 161 h 236"/>
                  <a:gd name="T96" fmla="*/ 235 w 322"/>
                  <a:gd name="T97" fmla="*/ 149 h 236"/>
                  <a:gd name="T98" fmla="*/ 248 w 322"/>
                  <a:gd name="T99" fmla="*/ 140 h 236"/>
                  <a:gd name="T100" fmla="*/ 312 w 322"/>
                  <a:gd name="T101" fmla="*/ 150 h 236"/>
                  <a:gd name="T102" fmla="*/ 321 w 322"/>
                  <a:gd name="T103" fmla="*/ 16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2" h="236">
                    <a:moveTo>
                      <a:pt x="182" y="30"/>
                    </a:moveTo>
                    <a:cubicBezTo>
                      <a:pt x="181" y="27"/>
                      <a:pt x="178" y="24"/>
                      <a:pt x="175" y="23"/>
                    </a:cubicBezTo>
                    <a:cubicBezTo>
                      <a:pt x="172" y="22"/>
                      <a:pt x="169" y="22"/>
                      <a:pt x="166" y="24"/>
                    </a:cubicBezTo>
                    <a:cubicBezTo>
                      <a:pt x="6" y="120"/>
                      <a:pt x="6" y="120"/>
                      <a:pt x="6" y="120"/>
                    </a:cubicBezTo>
                    <a:cubicBezTo>
                      <a:pt x="2" y="122"/>
                      <a:pt x="0" y="127"/>
                      <a:pt x="1" y="132"/>
                    </a:cubicBezTo>
                    <a:cubicBezTo>
                      <a:pt x="15" y="185"/>
                      <a:pt x="15" y="185"/>
                      <a:pt x="15" y="185"/>
                    </a:cubicBezTo>
                    <a:cubicBezTo>
                      <a:pt x="16" y="190"/>
                      <a:pt x="20" y="193"/>
                      <a:pt x="25" y="193"/>
                    </a:cubicBezTo>
                    <a:cubicBezTo>
                      <a:pt x="75" y="193"/>
                      <a:pt x="75" y="193"/>
                      <a:pt x="75" y="193"/>
                    </a:cubicBezTo>
                    <a:cubicBezTo>
                      <a:pt x="75" y="193"/>
                      <a:pt x="75" y="193"/>
                      <a:pt x="75" y="193"/>
                    </a:cubicBezTo>
                    <a:cubicBezTo>
                      <a:pt x="75" y="217"/>
                      <a:pt x="94" y="236"/>
                      <a:pt x="118" y="236"/>
                    </a:cubicBezTo>
                    <a:cubicBezTo>
                      <a:pt x="142" y="236"/>
                      <a:pt x="161" y="217"/>
                      <a:pt x="161" y="193"/>
                    </a:cubicBezTo>
                    <a:cubicBezTo>
                      <a:pt x="161" y="193"/>
                      <a:pt x="161" y="193"/>
                      <a:pt x="161" y="193"/>
                    </a:cubicBezTo>
                    <a:cubicBezTo>
                      <a:pt x="214" y="193"/>
                      <a:pt x="214" y="193"/>
                      <a:pt x="214" y="193"/>
                    </a:cubicBezTo>
                    <a:cubicBezTo>
                      <a:pt x="214" y="193"/>
                      <a:pt x="214" y="193"/>
                      <a:pt x="214" y="193"/>
                    </a:cubicBezTo>
                    <a:cubicBezTo>
                      <a:pt x="217" y="193"/>
                      <a:pt x="221" y="191"/>
                      <a:pt x="223" y="189"/>
                    </a:cubicBezTo>
                    <a:cubicBezTo>
                      <a:pt x="225" y="186"/>
                      <a:pt x="225" y="183"/>
                      <a:pt x="224" y="179"/>
                    </a:cubicBezTo>
                    <a:lnTo>
                      <a:pt x="182" y="30"/>
                    </a:lnTo>
                    <a:close/>
                    <a:moveTo>
                      <a:pt x="139" y="193"/>
                    </a:moveTo>
                    <a:cubicBezTo>
                      <a:pt x="139" y="205"/>
                      <a:pt x="130" y="214"/>
                      <a:pt x="118" y="214"/>
                    </a:cubicBezTo>
                    <a:cubicBezTo>
                      <a:pt x="106" y="214"/>
                      <a:pt x="97" y="205"/>
                      <a:pt x="97" y="193"/>
                    </a:cubicBezTo>
                    <a:cubicBezTo>
                      <a:pt x="97" y="193"/>
                      <a:pt x="97" y="193"/>
                      <a:pt x="97" y="193"/>
                    </a:cubicBezTo>
                    <a:cubicBezTo>
                      <a:pt x="139" y="193"/>
                      <a:pt x="139" y="193"/>
                      <a:pt x="139" y="193"/>
                    </a:cubicBezTo>
                    <a:cubicBezTo>
                      <a:pt x="139" y="193"/>
                      <a:pt x="139" y="193"/>
                      <a:pt x="139" y="193"/>
                    </a:cubicBezTo>
                    <a:close/>
                    <a:moveTo>
                      <a:pt x="33" y="172"/>
                    </a:moveTo>
                    <a:cubicBezTo>
                      <a:pt x="24" y="134"/>
                      <a:pt x="24" y="134"/>
                      <a:pt x="24" y="134"/>
                    </a:cubicBezTo>
                    <a:cubicBezTo>
                      <a:pt x="165" y="49"/>
                      <a:pt x="165" y="49"/>
                      <a:pt x="165" y="49"/>
                    </a:cubicBezTo>
                    <a:cubicBezTo>
                      <a:pt x="200" y="172"/>
                      <a:pt x="200" y="172"/>
                      <a:pt x="200" y="172"/>
                    </a:cubicBezTo>
                    <a:lnTo>
                      <a:pt x="33" y="172"/>
                    </a:lnTo>
                    <a:close/>
                    <a:moveTo>
                      <a:pt x="238" y="107"/>
                    </a:moveTo>
                    <a:cubicBezTo>
                      <a:pt x="237" y="108"/>
                      <a:pt x="236" y="108"/>
                      <a:pt x="235" y="108"/>
                    </a:cubicBezTo>
                    <a:cubicBezTo>
                      <a:pt x="231" y="108"/>
                      <a:pt x="226" y="105"/>
                      <a:pt x="225" y="100"/>
                    </a:cubicBezTo>
                    <a:cubicBezTo>
                      <a:pt x="223" y="94"/>
                      <a:pt x="227" y="88"/>
                      <a:pt x="232" y="87"/>
                    </a:cubicBezTo>
                    <a:cubicBezTo>
                      <a:pt x="307" y="65"/>
                      <a:pt x="307" y="65"/>
                      <a:pt x="307" y="65"/>
                    </a:cubicBezTo>
                    <a:cubicBezTo>
                      <a:pt x="313" y="64"/>
                      <a:pt x="319" y="67"/>
                      <a:pt x="320" y="73"/>
                    </a:cubicBezTo>
                    <a:cubicBezTo>
                      <a:pt x="322" y="78"/>
                      <a:pt x="319" y="84"/>
                      <a:pt x="313" y="86"/>
                    </a:cubicBezTo>
                    <a:lnTo>
                      <a:pt x="238" y="107"/>
                    </a:lnTo>
                    <a:close/>
                    <a:moveTo>
                      <a:pt x="206" y="61"/>
                    </a:moveTo>
                    <a:cubicBezTo>
                      <a:pt x="202" y="56"/>
                      <a:pt x="203" y="50"/>
                      <a:pt x="207" y="46"/>
                    </a:cubicBezTo>
                    <a:cubicBezTo>
                      <a:pt x="261" y="3"/>
                      <a:pt x="261" y="3"/>
                      <a:pt x="261" y="3"/>
                    </a:cubicBezTo>
                    <a:cubicBezTo>
                      <a:pt x="265" y="0"/>
                      <a:pt x="272" y="0"/>
                      <a:pt x="276" y="5"/>
                    </a:cubicBezTo>
                    <a:cubicBezTo>
                      <a:pt x="279" y="10"/>
                      <a:pt x="279" y="16"/>
                      <a:pt x="274" y="20"/>
                    </a:cubicBezTo>
                    <a:cubicBezTo>
                      <a:pt x="221" y="63"/>
                      <a:pt x="221" y="63"/>
                      <a:pt x="221" y="63"/>
                    </a:cubicBezTo>
                    <a:cubicBezTo>
                      <a:pt x="219" y="64"/>
                      <a:pt x="216" y="65"/>
                      <a:pt x="214" y="65"/>
                    </a:cubicBezTo>
                    <a:cubicBezTo>
                      <a:pt x="211" y="65"/>
                      <a:pt x="208" y="64"/>
                      <a:pt x="206" y="61"/>
                    </a:cubicBezTo>
                    <a:close/>
                    <a:moveTo>
                      <a:pt x="321" y="163"/>
                    </a:moveTo>
                    <a:cubicBezTo>
                      <a:pt x="320" y="168"/>
                      <a:pt x="315" y="172"/>
                      <a:pt x="310" y="172"/>
                    </a:cubicBezTo>
                    <a:cubicBezTo>
                      <a:pt x="309" y="172"/>
                      <a:pt x="309" y="172"/>
                      <a:pt x="308" y="172"/>
                    </a:cubicBezTo>
                    <a:cubicBezTo>
                      <a:pt x="244" y="161"/>
                      <a:pt x="244" y="161"/>
                      <a:pt x="244" y="161"/>
                    </a:cubicBezTo>
                    <a:cubicBezTo>
                      <a:pt x="238" y="160"/>
                      <a:pt x="235" y="154"/>
                      <a:pt x="235" y="149"/>
                    </a:cubicBezTo>
                    <a:cubicBezTo>
                      <a:pt x="236" y="143"/>
                      <a:pt x="242" y="139"/>
                      <a:pt x="248" y="140"/>
                    </a:cubicBezTo>
                    <a:cubicBezTo>
                      <a:pt x="312" y="150"/>
                      <a:pt x="312" y="150"/>
                      <a:pt x="312" y="150"/>
                    </a:cubicBezTo>
                    <a:cubicBezTo>
                      <a:pt x="318" y="151"/>
                      <a:pt x="321" y="157"/>
                      <a:pt x="321"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pPr>
                <a:endParaRPr lang="en-GB" sz="4800" b="0" dirty="0">
                  <a:solidFill>
                    <a:prstClr val="white"/>
                  </a:solidFill>
                  <a:latin typeface="Verdana"/>
                  <a:cs typeface="+mn-cs"/>
                </a:endParaRPr>
              </a:p>
            </p:txBody>
          </p:sp>
          <p:sp>
            <p:nvSpPr>
              <p:cNvPr id="90" name="Freeform 641"/>
              <p:cNvSpPr>
                <a:spLocks noEditPoints="1"/>
              </p:cNvSpPr>
              <p:nvPr/>
            </p:nvSpPr>
            <p:spPr bwMode="auto">
              <a:xfrm>
                <a:off x="5418" y="287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pPr>
                <a:endParaRPr lang="en-GB" sz="4800" b="0" dirty="0">
                  <a:solidFill>
                    <a:prstClr val="white"/>
                  </a:solidFill>
                  <a:latin typeface="Verdana"/>
                  <a:cs typeface="+mn-cs"/>
                </a:endParaRPr>
              </a:p>
            </p:txBody>
          </p:sp>
        </p:grpSp>
        <p:sp>
          <p:nvSpPr>
            <p:cNvPr id="43" name="Text Placeholder 3"/>
            <p:cNvSpPr txBox="1">
              <a:spLocks/>
            </p:cNvSpPr>
            <p:nvPr/>
          </p:nvSpPr>
          <p:spPr>
            <a:xfrm>
              <a:off x="179266" y="4079634"/>
              <a:ext cx="3395436" cy="414085"/>
            </a:xfrm>
            <a:prstGeom prst="rect">
              <a:avLst/>
            </a:prstGeom>
          </p:spPr>
          <p:txBody>
            <a:bodyPr vert="horz" lIns="0" tIns="0" rIns="0" bIns="0" rtlCol="0" anchor="ctr">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83142" fontAlgn="auto">
                <a:spcBef>
                  <a:spcPts val="4658"/>
                </a:spcBef>
                <a:spcAft>
                  <a:spcPts val="0"/>
                </a:spcAft>
              </a:pPr>
              <a:r>
                <a:rPr lang="en-US" dirty="0">
                  <a:solidFill>
                    <a:prstClr val="white"/>
                  </a:solidFill>
                  <a:latin typeface="Verdana"/>
                  <a:ea typeface="Verdana" panose="020B0604030504040204" pitchFamily="34" charset="0"/>
                  <a:cs typeface="Verdana" panose="020B0604030504040204" pitchFamily="34" charset="0"/>
                </a:rPr>
                <a:t>Gaps in skills must be </a:t>
              </a:r>
              <a:r>
                <a:rPr lang="en-US" dirty="0" smtClean="0">
                  <a:solidFill>
                    <a:prstClr val="white"/>
                  </a:solidFill>
                  <a:latin typeface="Verdana"/>
                  <a:ea typeface="Verdana" panose="020B0604030504040204" pitchFamily="34" charset="0"/>
                  <a:cs typeface="Verdana" panose="020B0604030504040204" pitchFamily="34" charset="0"/>
                </a:rPr>
                <a:t>addressed</a:t>
              </a:r>
              <a:endParaRPr lang="en-US" dirty="0">
                <a:solidFill>
                  <a:prstClr val="white"/>
                </a:solidFill>
                <a:latin typeface="Verdana"/>
                <a:ea typeface="Verdana" panose="020B0604030504040204" pitchFamily="34" charset="0"/>
                <a:cs typeface="Verdana" panose="020B0604030504040204" pitchFamily="34" charset="0"/>
              </a:endParaRPr>
            </a:p>
          </p:txBody>
        </p:sp>
        <p:sp>
          <p:nvSpPr>
            <p:cNvPr id="44" name="Freeform 933"/>
            <p:cNvSpPr>
              <a:spLocks noEditPoints="1"/>
            </p:cNvSpPr>
            <p:nvPr/>
          </p:nvSpPr>
          <p:spPr bwMode="auto">
            <a:xfrm>
              <a:off x="524070" y="4175510"/>
              <a:ext cx="258195" cy="1802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solidFill>
              <a:srgbClr val="00A3E0">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defRPr/>
              </a:pPr>
              <a:endParaRPr lang="en-GB" sz="3200" b="0" kern="0" dirty="0">
                <a:solidFill>
                  <a:prstClr val="black"/>
                </a:solidFill>
                <a:latin typeface="Verdana"/>
                <a:cs typeface="+mn-cs"/>
              </a:endParaRPr>
            </a:p>
          </p:txBody>
        </p:sp>
        <p:sp>
          <p:nvSpPr>
            <p:cNvPr id="46" name="Freeform 934"/>
            <p:cNvSpPr>
              <a:spLocks noEditPoints="1"/>
            </p:cNvSpPr>
            <p:nvPr/>
          </p:nvSpPr>
          <p:spPr bwMode="auto">
            <a:xfrm>
              <a:off x="442880" y="4078098"/>
              <a:ext cx="414085" cy="44082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3E0">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defRPr/>
              </a:pPr>
              <a:endParaRPr lang="en-GB" sz="3200" b="0" kern="0" dirty="0">
                <a:solidFill>
                  <a:prstClr val="black"/>
                </a:solidFill>
                <a:latin typeface="Verdana"/>
                <a:cs typeface="+mn-cs"/>
              </a:endParaRPr>
            </a:p>
          </p:txBody>
        </p:sp>
        <p:grpSp>
          <p:nvGrpSpPr>
            <p:cNvPr id="49" name="Group 844"/>
            <p:cNvGrpSpPr>
              <a:grpSpLocks noChangeAspect="1"/>
            </p:cNvGrpSpPr>
            <p:nvPr/>
          </p:nvGrpSpPr>
          <p:grpSpPr bwMode="auto">
            <a:xfrm>
              <a:off x="445951" y="5009340"/>
              <a:ext cx="414085" cy="414085"/>
              <a:chOff x="4301" y="3046"/>
              <a:chExt cx="340" cy="340"/>
            </a:xfrm>
            <a:solidFill>
              <a:srgbClr val="007436"/>
            </a:solidFill>
          </p:grpSpPr>
          <p:sp>
            <p:nvSpPr>
              <p:cNvPr id="82" name="Freeform 845"/>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pPr>
                <a:endParaRPr lang="en-GB" sz="4800" b="0" dirty="0">
                  <a:solidFill>
                    <a:prstClr val="white"/>
                  </a:solidFill>
                  <a:latin typeface="Verdana"/>
                  <a:cs typeface="+mn-cs"/>
                </a:endParaRPr>
              </a:p>
            </p:txBody>
          </p:sp>
          <p:sp>
            <p:nvSpPr>
              <p:cNvPr id="83" name="Freeform 846"/>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pPr>
                <a:endParaRPr lang="en-GB" sz="4800" b="0" dirty="0">
                  <a:solidFill>
                    <a:prstClr val="white"/>
                  </a:solidFill>
                  <a:latin typeface="Verdana"/>
                  <a:cs typeface="+mn-cs"/>
                </a:endParaRPr>
              </a:p>
            </p:txBody>
          </p:sp>
          <p:sp>
            <p:nvSpPr>
              <p:cNvPr id="84" name="Freeform 847"/>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pPr>
                <a:endParaRPr lang="en-GB" sz="4800" b="0" dirty="0">
                  <a:solidFill>
                    <a:prstClr val="white"/>
                  </a:solidFill>
                  <a:latin typeface="Verdana"/>
                  <a:cs typeface="+mn-cs"/>
                </a:endParaRPr>
              </a:p>
            </p:txBody>
          </p:sp>
          <p:sp>
            <p:nvSpPr>
              <p:cNvPr id="85" name="Freeform 848"/>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pPr>
                <a:endParaRPr lang="en-GB" sz="4800" b="0" dirty="0">
                  <a:solidFill>
                    <a:prstClr val="white"/>
                  </a:solidFill>
                  <a:latin typeface="Verdana"/>
                  <a:cs typeface="+mn-cs"/>
                </a:endParaRPr>
              </a:p>
            </p:txBody>
          </p:sp>
          <p:sp>
            <p:nvSpPr>
              <p:cNvPr id="86" name="Freeform 849"/>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pPr>
                <a:endParaRPr lang="en-GB" sz="4800" b="0" dirty="0">
                  <a:solidFill>
                    <a:prstClr val="white"/>
                  </a:solidFill>
                  <a:latin typeface="Verdana"/>
                  <a:cs typeface="+mn-cs"/>
                </a:endParaRPr>
              </a:p>
            </p:txBody>
          </p:sp>
          <p:sp>
            <p:nvSpPr>
              <p:cNvPr id="87" name="Freeform 850"/>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pPr>
                <a:endParaRPr lang="en-GB" sz="4800" b="0" dirty="0">
                  <a:solidFill>
                    <a:prstClr val="white"/>
                  </a:solidFill>
                  <a:latin typeface="Verdana"/>
                  <a:cs typeface="+mn-cs"/>
                </a:endParaRPr>
              </a:p>
            </p:txBody>
          </p:sp>
          <p:sp>
            <p:nvSpPr>
              <p:cNvPr id="88" name="Freeform 851"/>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pPr>
                <a:endParaRPr lang="en-GB" sz="4800" b="0" dirty="0">
                  <a:solidFill>
                    <a:prstClr val="white"/>
                  </a:solidFill>
                  <a:latin typeface="Verdana"/>
                  <a:cs typeface="+mn-cs"/>
                </a:endParaRPr>
              </a:p>
            </p:txBody>
          </p:sp>
        </p:grpSp>
        <p:grpSp>
          <p:nvGrpSpPr>
            <p:cNvPr id="51" name="Group 423"/>
            <p:cNvGrpSpPr>
              <a:grpSpLocks noChangeAspect="1"/>
            </p:cNvGrpSpPr>
            <p:nvPr/>
          </p:nvGrpSpPr>
          <p:grpSpPr bwMode="auto">
            <a:xfrm>
              <a:off x="482046" y="6013166"/>
              <a:ext cx="414085" cy="414085"/>
              <a:chOff x="4285" y="1550"/>
              <a:chExt cx="340" cy="340"/>
            </a:xfrm>
            <a:solidFill>
              <a:srgbClr val="86BC25"/>
            </a:solidFill>
          </p:grpSpPr>
          <p:sp>
            <p:nvSpPr>
              <p:cNvPr id="80" name="Freeform 424"/>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defRPr/>
                </a:pPr>
                <a:endParaRPr lang="en-GB" sz="2800" b="0" kern="0" dirty="0">
                  <a:solidFill>
                    <a:prstClr val="black"/>
                  </a:solidFill>
                  <a:latin typeface="Verdana"/>
                  <a:cs typeface="+mn-cs"/>
                </a:endParaRPr>
              </a:p>
            </p:txBody>
          </p:sp>
          <p:sp>
            <p:nvSpPr>
              <p:cNvPr id="81" name="Freeform 425"/>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defRPr/>
                </a:pPr>
                <a:endParaRPr lang="en-GB" sz="2800" b="0" kern="0" dirty="0">
                  <a:solidFill>
                    <a:prstClr val="black"/>
                  </a:solidFill>
                  <a:latin typeface="Verdana"/>
                  <a:cs typeface="+mn-cs"/>
                </a:endParaRPr>
              </a:p>
            </p:txBody>
          </p:sp>
        </p:grpSp>
        <p:sp>
          <p:nvSpPr>
            <p:cNvPr id="52" name="Text Placeholder 3"/>
            <p:cNvSpPr txBox="1">
              <a:spLocks/>
            </p:cNvSpPr>
            <p:nvPr/>
          </p:nvSpPr>
          <p:spPr>
            <a:xfrm>
              <a:off x="167232" y="4999246"/>
              <a:ext cx="3515754" cy="414085"/>
            </a:xfrm>
            <a:prstGeom prst="rect">
              <a:avLst/>
            </a:prstGeom>
          </p:spPr>
          <p:txBody>
            <a:bodyPr vert="horz" lIns="0" tIns="0" rIns="0" bIns="0" rtlCol="0" anchor="ctr">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83142" fontAlgn="auto">
                <a:spcBef>
                  <a:spcPts val="4658"/>
                </a:spcBef>
                <a:spcAft>
                  <a:spcPts val="0"/>
                </a:spcAft>
              </a:pPr>
              <a:r>
                <a:rPr lang="en-US" dirty="0">
                  <a:solidFill>
                    <a:prstClr val="white"/>
                  </a:solidFill>
                  <a:latin typeface="Verdana"/>
                  <a:ea typeface="Verdana" panose="020B0604030504040204" pitchFamily="34" charset="0"/>
                  <a:cs typeface="Verdana" panose="020B0604030504040204" pitchFamily="34" charset="0"/>
                </a:rPr>
                <a:t>Use of alternate resourcing models will </a:t>
              </a:r>
              <a:r>
                <a:rPr lang="en-US" dirty="0" smtClean="0">
                  <a:solidFill>
                    <a:prstClr val="white"/>
                  </a:solidFill>
                  <a:latin typeface="Verdana"/>
                  <a:ea typeface="Verdana" panose="020B0604030504040204" pitchFamily="34" charset="0"/>
                  <a:cs typeface="Verdana" panose="020B0604030504040204" pitchFamily="34" charset="0"/>
                </a:rPr>
                <a:t>expand</a:t>
              </a:r>
              <a:endParaRPr lang="en-US" dirty="0">
                <a:solidFill>
                  <a:prstClr val="white"/>
                </a:solidFill>
                <a:latin typeface="Verdana"/>
                <a:ea typeface="Verdana" panose="020B0604030504040204" pitchFamily="34" charset="0"/>
                <a:cs typeface="Verdana" panose="020B0604030504040204" pitchFamily="34" charset="0"/>
              </a:endParaRPr>
            </a:p>
          </p:txBody>
        </p:sp>
        <p:sp>
          <p:nvSpPr>
            <p:cNvPr id="53" name="Text Placeholder 3"/>
            <p:cNvSpPr txBox="1">
              <a:spLocks/>
            </p:cNvSpPr>
            <p:nvPr/>
          </p:nvSpPr>
          <p:spPr>
            <a:xfrm>
              <a:off x="167232" y="5967589"/>
              <a:ext cx="3397903" cy="414085"/>
            </a:xfrm>
            <a:prstGeom prst="rect">
              <a:avLst/>
            </a:prstGeom>
          </p:spPr>
          <p:txBody>
            <a:bodyPr vert="horz" lIns="0" tIns="0" rIns="0" bIns="0" rtlCol="0" anchor="ctr">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83142" fontAlgn="auto">
                <a:spcBef>
                  <a:spcPts val="4658"/>
                </a:spcBef>
                <a:spcAft>
                  <a:spcPts val="0"/>
                </a:spcAft>
              </a:pPr>
              <a:r>
                <a:rPr lang="en-US" dirty="0" smtClean="0">
                  <a:solidFill>
                    <a:prstClr val="white"/>
                  </a:solidFill>
                  <a:latin typeface="Verdana"/>
                  <a:ea typeface="Verdana" panose="020B0604030504040204" pitchFamily="34" charset="0"/>
                  <a:cs typeface="Verdana" panose="020B0604030504040204" pitchFamily="34" charset="0"/>
                </a:rPr>
                <a:t>Embracing Analytics </a:t>
              </a:r>
              <a:r>
                <a:rPr lang="en-US" dirty="0">
                  <a:solidFill>
                    <a:prstClr val="white"/>
                  </a:solidFill>
                  <a:latin typeface="Verdana"/>
                  <a:ea typeface="Verdana" panose="020B0604030504040204" pitchFamily="34" charset="0"/>
                  <a:cs typeface="Verdana" panose="020B0604030504040204" pitchFamily="34" charset="0"/>
                </a:rPr>
                <a:t>presents major </a:t>
              </a:r>
              <a:r>
                <a:rPr lang="en-US" dirty="0" smtClean="0">
                  <a:solidFill>
                    <a:prstClr val="white"/>
                  </a:solidFill>
                  <a:latin typeface="Verdana"/>
                  <a:ea typeface="Verdana" panose="020B0604030504040204" pitchFamily="34" charset="0"/>
                  <a:cs typeface="Verdana" panose="020B0604030504040204" pitchFamily="34" charset="0"/>
                </a:rPr>
                <a:t>opportunities</a:t>
              </a:r>
              <a:endParaRPr lang="en-US" dirty="0">
                <a:solidFill>
                  <a:prstClr val="white"/>
                </a:solidFill>
                <a:latin typeface="Verdana"/>
                <a:ea typeface="Verdana" panose="020B0604030504040204" pitchFamily="34" charset="0"/>
                <a:cs typeface="Verdana" panose="020B0604030504040204" pitchFamily="34" charset="0"/>
              </a:endParaRPr>
            </a:p>
          </p:txBody>
        </p:sp>
        <p:sp>
          <p:nvSpPr>
            <p:cNvPr id="54" name="Text Placeholder 3"/>
            <p:cNvSpPr txBox="1">
              <a:spLocks/>
            </p:cNvSpPr>
            <p:nvPr/>
          </p:nvSpPr>
          <p:spPr>
            <a:xfrm>
              <a:off x="4849995" y="2261240"/>
              <a:ext cx="3789998" cy="414085"/>
            </a:xfrm>
            <a:prstGeom prst="rect">
              <a:avLst/>
            </a:prstGeom>
          </p:spPr>
          <p:txBody>
            <a:bodyPr vert="horz" lIns="0" tIns="0" rIns="0" bIns="0" rtlCol="0" anchor="ctr">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83142" defTabSz="1183142" fontAlgn="auto">
                <a:spcBef>
                  <a:spcPts val="4658"/>
                </a:spcBef>
                <a:spcAft>
                  <a:spcPts val="0"/>
                </a:spcAft>
                <a:defRPr/>
              </a:pPr>
              <a:r>
                <a:rPr lang="en-US" dirty="0">
                  <a:solidFill>
                    <a:prstClr val="white"/>
                  </a:solidFill>
                  <a:latin typeface="Verdana"/>
                  <a:ea typeface="Verdana" panose="020B0604030504040204" pitchFamily="34" charset="0"/>
                  <a:cs typeface="Verdana" panose="020B0604030504040204" pitchFamily="34" charset="0"/>
                </a:rPr>
                <a:t>Dynamic reporting is poised to </a:t>
              </a:r>
              <a:r>
                <a:rPr lang="en-US" dirty="0" smtClean="0">
                  <a:solidFill>
                    <a:prstClr val="white"/>
                  </a:solidFill>
                  <a:latin typeface="Verdana"/>
                  <a:ea typeface="Verdana" panose="020B0604030504040204" pitchFamily="34" charset="0"/>
                  <a:cs typeface="Verdana" panose="020B0604030504040204" pitchFamily="34" charset="0"/>
                </a:rPr>
                <a:t>increase</a:t>
              </a:r>
              <a:endParaRPr lang="en-US" dirty="0">
                <a:solidFill>
                  <a:prstClr val="white"/>
                </a:solidFill>
                <a:latin typeface="Verdana"/>
                <a:ea typeface="Verdana" panose="020B0604030504040204" pitchFamily="34" charset="0"/>
                <a:cs typeface="Verdana" panose="020B0604030504040204" pitchFamily="34" charset="0"/>
              </a:endParaRPr>
            </a:p>
          </p:txBody>
        </p:sp>
        <p:grpSp>
          <p:nvGrpSpPr>
            <p:cNvPr id="55" name="Group 299"/>
            <p:cNvGrpSpPr>
              <a:grpSpLocks noChangeAspect="1"/>
            </p:cNvGrpSpPr>
            <p:nvPr/>
          </p:nvGrpSpPr>
          <p:grpSpPr bwMode="auto">
            <a:xfrm>
              <a:off x="4952195" y="2309459"/>
              <a:ext cx="414085" cy="414085"/>
              <a:chOff x="1166" y="1121"/>
              <a:chExt cx="341" cy="340"/>
            </a:xfrm>
            <a:solidFill>
              <a:sysClr val="window" lastClr="FFFFFF">
                <a:lumMod val="95000"/>
              </a:sysClr>
            </a:solidFill>
          </p:grpSpPr>
          <p:sp>
            <p:nvSpPr>
              <p:cNvPr id="78" name="Freeform 300"/>
              <p:cNvSpPr>
                <a:spLocks noEditPoints="1"/>
              </p:cNvSpPr>
              <p:nvPr/>
            </p:nvSpPr>
            <p:spPr bwMode="auto">
              <a:xfrm>
                <a:off x="1230" y="1213"/>
                <a:ext cx="213" cy="170"/>
              </a:xfrm>
              <a:custGeom>
                <a:avLst/>
                <a:gdLst>
                  <a:gd name="T0" fmla="*/ 309 w 320"/>
                  <a:gd name="T1" fmla="*/ 0 h 256"/>
                  <a:gd name="T2" fmla="*/ 10 w 320"/>
                  <a:gd name="T3" fmla="*/ 0 h 256"/>
                  <a:gd name="T4" fmla="*/ 0 w 320"/>
                  <a:gd name="T5" fmla="*/ 11 h 256"/>
                  <a:gd name="T6" fmla="*/ 0 w 320"/>
                  <a:gd name="T7" fmla="*/ 203 h 256"/>
                  <a:gd name="T8" fmla="*/ 10 w 320"/>
                  <a:gd name="T9" fmla="*/ 214 h 256"/>
                  <a:gd name="T10" fmla="*/ 149 w 320"/>
                  <a:gd name="T11" fmla="*/ 214 h 256"/>
                  <a:gd name="T12" fmla="*/ 149 w 320"/>
                  <a:gd name="T13" fmla="*/ 235 h 256"/>
                  <a:gd name="T14" fmla="*/ 106 w 320"/>
                  <a:gd name="T15" fmla="*/ 235 h 256"/>
                  <a:gd name="T16" fmla="*/ 96 w 320"/>
                  <a:gd name="T17" fmla="*/ 246 h 256"/>
                  <a:gd name="T18" fmla="*/ 106 w 320"/>
                  <a:gd name="T19" fmla="*/ 256 h 256"/>
                  <a:gd name="T20" fmla="*/ 213 w 320"/>
                  <a:gd name="T21" fmla="*/ 256 h 256"/>
                  <a:gd name="T22" fmla="*/ 224 w 320"/>
                  <a:gd name="T23" fmla="*/ 246 h 256"/>
                  <a:gd name="T24" fmla="*/ 213 w 320"/>
                  <a:gd name="T25" fmla="*/ 235 h 256"/>
                  <a:gd name="T26" fmla="*/ 170 w 320"/>
                  <a:gd name="T27" fmla="*/ 235 h 256"/>
                  <a:gd name="T28" fmla="*/ 170 w 320"/>
                  <a:gd name="T29" fmla="*/ 214 h 256"/>
                  <a:gd name="T30" fmla="*/ 309 w 320"/>
                  <a:gd name="T31" fmla="*/ 214 h 256"/>
                  <a:gd name="T32" fmla="*/ 320 w 320"/>
                  <a:gd name="T33" fmla="*/ 203 h 256"/>
                  <a:gd name="T34" fmla="*/ 320 w 320"/>
                  <a:gd name="T35" fmla="*/ 11 h 256"/>
                  <a:gd name="T36" fmla="*/ 309 w 320"/>
                  <a:gd name="T37" fmla="*/ 0 h 256"/>
                  <a:gd name="T38" fmla="*/ 298 w 320"/>
                  <a:gd name="T39" fmla="*/ 192 h 256"/>
                  <a:gd name="T40" fmla="*/ 21 w 320"/>
                  <a:gd name="T41" fmla="*/ 192 h 256"/>
                  <a:gd name="T42" fmla="*/ 21 w 320"/>
                  <a:gd name="T43" fmla="*/ 22 h 256"/>
                  <a:gd name="T44" fmla="*/ 298 w 320"/>
                  <a:gd name="T45" fmla="*/ 22 h 256"/>
                  <a:gd name="T46" fmla="*/ 298 w 320"/>
                  <a:gd name="T47"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56">
                    <a:moveTo>
                      <a:pt x="309" y="0"/>
                    </a:moveTo>
                    <a:cubicBezTo>
                      <a:pt x="10" y="0"/>
                      <a:pt x="10" y="0"/>
                      <a:pt x="10" y="0"/>
                    </a:cubicBezTo>
                    <a:cubicBezTo>
                      <a:pt x="4" y="0"/>
                      <a:pt x="0" y="5"/>
                      <a:pt x="0" y="11"/>
                    </a:cubicBezTo>
                    <a:cubicBezTo>
                      <a:pt x="0" y="203"/>
                      <a:pt x="0" y="203"/>
                      <a:pt x="0" y="203"/>
                    </a:cubicBezTo>
                    <a:cubicBezTo>
                      <a:pt x="0" y="209"/>
                      <a:pt x="4" y="214"/>
                      <a:pt x="10" y="214"/>
                    </a:cubicBezTo>
                    <a:cubicBezTo>
                      <a:pt x="149" y="214"/>
                      <a:pt x="149" y="214"/>
                      <a:pt x="149" y="214"/>
                    </a:cubicBezTo>
                    <a:cubicBezTo>
                      <a:pt x="149" y="235"/>
                      <a:pt x="149" y="235"/>
                      <a:pt x="149" y="235"/>
                    </a:cubicBezTo>
                    <a:cubicBezTo>
                      <a:pt x="106" y="235"/>
                      <a:pt x="106" y="235"/>
                      <a:pt x="106" y="235"/>
                    </a:cubicBezTo>
                    <a:cubicBezTo>
                      <a:pt x="100" y="235"/>
                      <a:pt x="96" y="240"/>
                      <a:pt x="96" y="246"/>
                    </a:cubicBezTo>
                    <a:cubicBezTo>
                      <a:pt x="96" y="252"/>
                      <a:pt x="100" y="256"/>
                      <a:pt x="106" y="256"/>
                    </a:cubicBezTo>
                    <a:cubicBezTo>
                      <a:pt x="213" y="256"/>
                      <a:pt x="213" y="256"/>
                      <a:pt x="213" y="256"/>
                    </a:cubicBezTo>
                    <a:cubicBezTo>
                      <a:pt x="219" y="256"/>
                      <a:pt x="224" y="252"/>
                      <a:pt x="224" y="246"/>
                    </a:cubicBezTo>
                    <a:cubicBezTo>
                      <a:pt x="224" y="240"/>
                      <a:pt x="219" y="235"/>
                      <a:pt x="213" y="235"/>
                    </a:cubicBezTo>
                    <a:cubicBezTo>
                      <a:pt x="170" y="235"/>
                      <a:pt x="170" y="235"/>
                      <a:pt x="170" y="235"/>
                    </a:cubicBezTo>
                    <a:cubicBezTo>
                      <a:pt x="170" y="214"/>
                      <a:pt x="170" y="214"/>
                      <a:pt x="170"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marL="0" marR="0" lvl="0" indent="0" algn="l" defTabSz="787481" eaLnBrk="1" fontAlgn="auto" latinLnBrk="0" hangingPunct="1">
                  <a:lnSpc>
                    <a:spcPct val="100000"/>
                  </a:lnSpc>
                  <a:spcBef>
                    <a:spcPts val="0"/>
                  </a:spcBef>
                  <a:spcAft>
                    <a:spcPts val="0"/>
                  </a:spcAft>
                  <a:buClrTx/>
                  <a:buSzTx/>
                  <a:buFontTx/>
                  <a:buNone/>
                  <a:tabLst/>
                  <a:defRPr/>
                </a:pPr>
                <a:endParaRPr kumimoji="0" lang="en-GB" sz="2800" b="0" i="0" u="none" strike="noStrike" kern="0" cap="none" spc="0" normalizeH="0" baseline="0" noProof="0" dirty="0">
                  <a:ln>
                    <a:noFill/>
                  </a:ln>
                  <a:solidFill>
                    <a:prstClr val="black"/>
                  </a:solidFill>
                  <a:effectLst/>
                  <a:uLnTx/>
                  <a:uFillTx/>
                  <a:latin typeface="Verdana"/>
                  <a:cs typeface="+mn-cs"/>
                </a:endParaRPr>
              </a:p>
            </p:txBody>
          </p:sp>
          <p:sp>
            <p:nvSpPr>
              <p:cNvPr id="79" name="Freeform 301"/>
              <p:cNvSpPr>
                <a:spLocks noEditPoints="1"/>
              </p:cNvSpPr>
              <p:nvPr/>
            </p:nvSpPr>
            <p:spPr bwMode="auto">
              <a:xfrm>
                <a:off x="1166" y="11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marL="0" marR="0" lvl="0" indent="0" algn="l" defTabSz="787481" eaLnBrk="1" fontAlgn="auto" latinLnBrk="0" hangingPunct="1">
                  <a:lnSpc>
                    <a:spcPct val="100000"/>
                  </a:lnSpc>
                  <a:spcBef>
                    <a:spcPts val="0"/>
                  </a:spcBef>
                  <a:spcAft>
                    <a:spcPts val="0"/>
                  </a:spcAft>
                  <a:buClrTx/>
                  <a:buSzTx/>
                  <a:buFontTx/>
                  <a:buNone/>
                  <a:tabLst/>
                  <a:defRPr/>
                </a:pPr>
                <a:endParaRPr kumimoji="0" lang="en-GB" sz="2800" b="0" i="0" u="none" strike="noStrike" kern="0" cap="none" spc="0" normalizeH="0" baseline="0" noProof="0" dirty="0">
                  <a:ln>
                    <a:noFill/>
                  </a:ln>
                  <a:solidFill>
                    <a:prstClr val="black"/>
                  </a:solidFill>
                  <a:effectLst/>
                  <a:uLnTx/>
                  <a:uFillTx/>
                  <a:latin typeface="Verdana"/>
                  <a:cs typeface="+mn-cs"/>
                </a:endParaRPr>
              </a:p>
            </p:txBody>
          </p:sp>
        </p:grpSp>
        <p:sp>
          <p:nvSpPr>
            <p:cNvPr id="57" name="Text Placeholder 3"/>
            <p:cNvSpPr txBox="1">
              <a:spLocks/>
            </p:cNvSpPr>
            <p:nvPr/>
          </p:nvSpPr>
          <p:spPr>
            <a:xfrm>
              <a:off x="4883070" y="3190442"/>
              <a:ext cx="4178034" cy="441284"/>
            </a:xfrm>
            <a:prstGeom prst="rect">
              <a:avLst/>
            </a:prstGeom>
          </p:spPr>
          <p:txBody>
            <a:bodyPr vert="horz" lIns="0" tIns="0" rIns="0" bIns="0" rtlCol="0" anchor="ctr">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83142" defTabSz="1183142" fontAlgn="auto">
                <a:spcBef>
                  <a:spcPts val="4658"/>
                </a:spcBef>
                <a:spcAft>
                  <a:spcPts val="0"/>
                </a:spcAft>
                <a:defRPr/>
              </a:pPr>
              <a:r>
                <a:rPr lang="en-US" dirty="0">
                  <a:solidFill>
                    <a:prstClr val="white"/>
                  </a:solidFill>
                  <a:latin typeface="Verdana"/>
                  <a:ea typeface="Verdana" panose="020B0604030504040204" pitchFamily="34" charset="0"/>
                  <a:cs typeface="Verdana" panose="020B0604030504040204" pitchFamily="34" charset="0"/>
                </a:rPr>
                <a:t>Innovation </a:t>
              </a:r>
              <a:r>
                <a:rPr lang="en-US" dirty="0" smtClean="0">
                  <a:solidFill>
                    <a:prstClr val="white"/>
                  </a:solidFill>
                  <a:latin typeface="Verdana"/>
                  <a:ea typeface="Verdana" panose="020B0604030504040204" pitchFamily="34" charset="0"/>
                  <a:cs typeface="Verdana" panose="020B0604030504040204" pitchFamily="34" charset="0"/>
                </a:rPr>
                <a:t>is key to meeting the demands ahead</a:t>
              </a:r>
              <a:endParaRPr lang="en-US" dirty="0">
                <a:solidFill>
                  <a:prstClr val="white"/>
                </a:solidFill>
                <a:latin typeface="Verdana"/>
                <a:ea typeface="Verdana" panose="020B0604030504040204" pitchFamily="34" charset="0"/>
                <a:cs typeface="Verdana" panose="020B0604030504040204" pitchFamily="34" charset="0"/>
              </a:endParaRPr>
            </a:p>
          </p:txBody>
        </p:sp>
        <p:sp>
          <p:nvSpPr>
            <p:cNvPr id="59" name="Freeform 689"/>
            <p:cNvSpPr>
              <a:spLocks noEditPoints="1"/>
            </p:cNvSpPr>
            <p:nvPr/>
          </p:nvSpPr>
          <p:spPr bwMode="auto">
            <a:xfrm>
              <a:off x="5018440" y="3190649"/>
              <a:ext cx="414085" cy="41408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defRPr/>
              </a:pPr>
              <a:endParaRPr lang="en-GB" sz="2800" b="0" kern="0" dirty="0">
                <a:solidFill>
                  <a:prstClr val="black"/>
                </a:solidFill>
                <a:latin typeface="Verdana"/>
                <a:cs typeface="+mn-cs"/>
              </a:endParaRPr>
            </a:p>
          </p:txBody>
        </p:sp>
        <p:sp>
          <p:nvSpPr>
            <p:cNvPr id="60" name="Freeform 690"/>
            <p:cNvSpPr>
              <a:spLocks noEditPoints="1"/>
            </p:cNvSpPr>
            <p:nvPr/>
          </p:nvSpPr>
          <p:spPr bwMode="auto">
            <a:xfrm>
              <a:off x="5096390" y="3299961"/>
              <a:ext cx="243579" cy="252105"/>
            </a:xfrm>
            <a:custGeom>
              <a:avLst/>
              <a:gdLst>
                <a:gd name="T0" fmla="*/ 166 w 302"/>
                <a:gd name="T1" fmla="*/ 311 h 311"/>
                <a:gd name="T2" fmla="*/ 158 w 302"/>
                <a:gd name="T3" fmla="*/ 308 h 311"/>
                <a:gd name="T4" fmla="*/ 113 w 302"/>
                <a:gd name="T5" fmla="*/ 263 h 311"/>
                <a:gd name="T6" fmla="*/ 92 w 302"/>
                <a:gd name="T7" fmla="*/ 268 h 311"/>
                <a:gd name="T8" fmla="*/ 55 w 302"/>
                <a:gd name="T9" fmla="*/ 257 h 311"/>
                <a:gd name="T10" fmla="*/ 49 w 302"/>
                <a:gd name="T11" fmla="*/ 198 h 311"/>
                <a:gd name="T12" fmla="*/ 4 w 302"/>
                <a:gd name="T13" fmla="*/ 153 h 311"/>
                <a:gd name="T14" fmla="*/ 2 w 302"/>
                <a:gd name="T15" fmla="*/ 140 h 311"/>
                <a:gd name="T16" fmla="*/ 97 w 302"/>
                <a:gd name="T17" fmla="*/ 95 h 311"/>
                <a:gd name="T18" fmla="*/ 280 w 302"/>
                <a:gd name="T19" fmla="*/ 25 h 311"/>
                <a:gd name="T20" fmla="*/ 287 w 302"/>
                <a:gd name="T21" fmla="*/ 33 h 311"/>
                <a:gd name="T22" fmla="*/ 216 w 302"/>
                <a:gd name="T23" fmla="*/ 216 h 311"/>
                <a:gd name="T24" fmla="*/ 172 w 302"/>
                <a:gd name="T25" fmla="*/ 309 h 311"/>
                <a:gd name="T26" fmla="*/ 166 w 302"/>
                <a:gd name="T27" fmla="*/ 311 h 311"/>
                <a:gd name="T28" fmla="*/ 115 w 302"/>
                <a:gd name="T29" fmla="*/ 239 h 311"/>
                <a:gd name="T30" fmla="*/ 122 w 302"/>
                <a:gd name="T31" fmla="*/ 242 h 311"/>
                <a:gd name="T32" fmla="*/ 167 w 302"/>
                <a:gd name="T33" fmla="*/ 286 h 311"/>
                <a:gd name="T34" fmla="*/ 194 w 302"/>
                <a:gd name="T35" fmla="*/ 216 h 311"/>
                <a:gd name="T36" fmla="*/ 197 w 302"/>
                <a:gd name="T37" fmla="*/ 205 h 311"/>
                <a:gd name="T38" fmla="*/ 267 w 302"/>
                <a:gd name="T39" fmla="*/ 44 h 311"/>
                <a:gd name="T40" fmla="*/ 107 w 302"/>
                <a:gd name="T41" fmla="*/ 114 h 311"/>
                <a:gd name="T42" fmla="*/ 96 w 302"/>
                <a:gd name="T43" fmla="*/ 116 h 311"/>
                <a:gd name="T44" fmla="*/ 25 w 302"/>
                <a:gd name="T45" fmla="*/ 144 h 311"/>
                <a:gd name="T46" fmla="*/ 70 w 302"/>
                <a:gd name="T47" fmla="*/ 189 h 311"/>
                <a:gd name="T48" fmla="*/ 70 w 302"/>
                <a:gd name="T49" fmla="*/ 204 h 311"/>
                <a:gd name="T50" fmla="*/ 70 w 302"/>
                <a:gd name="T51" fmla="*/ 242 h 311"/>
                <a:gd name="T52" fmla="*/ 107 w 302"/>
                <a:gd name="T53" fmla="*/ 242 h 311"/>
                <a:gd name="T54" fmla="*/ 115 w 302"/>
                <a:gd name="T55" fmla="*/ 239 h 311"/>
                <a:gd name="T56" fmla="*/ 145 w 302"/>
                <a:gd name="T57" fmla="*/ 209 h 311"/>
                <a:gd name="T58" fmla="*/ 112 w 302"/>
                <a:gd name="T59" fmla="*/ 196 h 311"/>
                <a:gd name="T60" fmla="*/ 112 w 302"/>
                <a:gd name="T61" fmla="*/ 131 h 311"/>
                <a:gd name="T62" fmla="*/ 145 w 302"/>
                <a:gd name="T63" fmla="*/ 117 h 311"/>
                <a:gd name="T64" fmla="*/ 177 w 302"/>
                <a:gd name="T65" fmla="*/ 131 h 311"/>
                <a:gd name="T66" fmla="*/ 177 w 302"/>
                <a:gd name="T67" fmla="*/ 196 h 311"/>
                <a:gd name="T68" fmla="*/ 177 w 302"/>
                <a:gd name="T69" fmla="*/ 196 h 311"/>
                <a:gd name="T70" fmla="*/ 145 w 302"/>
                <a:gd name="T71" fmla="*/ 209 h 311"/>
                <a:gd name="T72" fmla="*/ 145 w 302"/>
                <a:gd name="T73" fmla="*/ 139 h 311"/>
                <a:gd name="T74" fmla="*/ 128 w 302"/>
                <a:gd name="T75" fmla="*/ 146 h 311"/>
                <a:gd name="T76" fmla="*/ 128 w 302"/>
                <a:gd name="T77" fmla="*/ 181 h 311"/>
                <a:gd name="T78" fmla="*/ 162 w 302"/>
                <a:gd name="T79" fmla="*/ 181 h 311"/>
                <a:gd name="T80" fmla="*/ 162 w 302"/>
                <a:gd name="T81" fmla="*/ 181 h 311"/>
                <a:gd name="T82" fmla="*/ 162 w 302"/>
                <a:gd name="T83" fmla="*/ 146 h 311"/>
                <a:gd name="T84" fmla="*/ 145 w 302"/>
                <a:gd name="T85"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11">
                  <a:moveTo>
                    <a:pt x="166" y="311"/>
                  </a:moveTo>
                  <a:cubicBezTo>
                    <a:pt x="163" y="311"/>
                    <a:pt x="160" y="310"/>
                    <a:pt x="158" y="308"/>
                  </a:cubicBezTo>
                  <a:cubicBezTo>
                    <a:pt x="113" y="263"/>
                    <a:pt x="113" y="263"/>
                    <a:pt x="113" y="263"/>
                  </a:cubicBezTo>
                  <a:cubicBezTo>
                    <a:pt x="107" y="266"/>
                    <a:pt x="100" y="268"/>
                    <a:pt x="92" y="268"/>
                  </a:cubicBezTo>
                  <a:cubicBezTo>
                    <a:pt x="77" y="270"/>
                    <a:pt x="63" y="266"/>
                    <a:pt x="55" y="257"/>
                  </a:cubicBezTo>
                  <a:cubicBezTo>
                    <a:pt x="39" y="242"/>
                    <a:pt x="41" y="214"/>
                    <a:pt x="49" y="198"/>
                  </a:cubicBezTo>
                  <a:cubicBezTo>
                    <a:pt x="4" y="153"/>
                    <a:pt x="4" y="153"/>
                    <a:pt x="4" y="153"/>
                  </a:cubicBezTo>
                  <a:cubicBezTo>
                    <a:pt x="0" y="150"/>
                    <a:pt x="0" y="145"/>
                    <a:pt x="2" y="140"/>
                  </a:cubicBezTo>
                  <a:cubicBezTo>
                    <a:pt x="35" y="87"/>
                    <a:pt x="79" y="91"/>
                    <a:pt x="97" y="95"/>
                  </a:cubicBezTo>
                  <a:cubicBezTo>
                    <a:pt x="194" y="0"/>
                    <a:pt x="276" y="24"/>
                    <a:pt x="280" y="25"/>
                  </a:cubicBezTo>
                  <a:cubicBezTo>
                    <a:pt x="284" y="26"/>
                    <a:pt x="286" y="29"/>
                    <a:pt x="287" y="33"/>
                  </a:cubicBezTo>
                  <a:cubicBezTo>
                    <a:pt x="288" y="37"/>
                    <a:pt x="302" y="127"/>
                    <a:pt x="216" y="216"/>
                  </a:cubicBezTo>
                  <a:cubicBezTo>
                    <a:pt x="219" y="232"/>
                    <a:pt x="220" y="273"/>
                    <a:pt x="172" y="309"/>
                  </a:cubicBezTo>
                  <a:cubicBezTo>
                    <a:pt x="170" y="310"/>
                    <a:pt x="168" y="311"/>
                    <a:pt x="166" y="311"/>
                  </a:cubicBezTo>
                  <a:close/>
                  <a:moveTo>
                    <a:pt x="115" y="239"/>
                  </a:moveTo>
                  <a:cubicBezTo>
                    <a:pt x="118" y="239"/>
                    <a:pt x="120" y="240"/>
                    <a:pt x="122" y="242"/>
                  </a:cubicBezTo>
                  <a:cubicBezTo>
                    <a:pt x="167" y="286"/>
                    <a:pt x="167" y="286"/>
                    <a:pt x="167" y="286"/>
                  </a:cubicBezTo>
                  <a:cubicBezTo>
                    <a:pt x="206" y="252"/>
                    <a:pt x="195" y="216"/>
                    <a:pt x="194" y="216"/>
                  </a:cubicBezTo>
                  <a:cubicBezTo>
                    <a:pt x="193" y="212"/>
                    <a:pt x="194" y="208"/>
                    <a:pt x="197" y="205"/>
                  </a:cubicBezTo>
                  <a:cubicBezTo>
                    <a:pt x="266" y="136"/>
                    <a:pt x="268" y="66"/>
                    <a:pt x="267" y="44"/>
                  </a:cubicBezTo>
                  <a:cubicBezTo>
                    <a:pt x="246" y="41"/>
                    <a:pt x="183" y="39"/>
                    <a:pt x="107" y="114"/>
                  </a:cubicBezTo>
                  <a:cubicBezTo>
                    <a:pt x="104" y="117"/>
                    <a:pt x="100" y="118"/>
                    <a:pt x="96" y="116"/>
                  </a:cubicBezTo>
                  <a:cubicBezTo>
                    <a:pt x="94" y="116"/>
                    <a:pt x="55" y="102"/>
                    <a:pt x="25" y="144"/>
                  </a:cubicBezTo>
                  <a:cubicBezTo>
                    <a:pt x="70" y="189"/>
                    <a:pt x="70" y="189"/>
                    <a:pt x="70" y="189"/>
                  </a:cubicBezTo>
                  <a:cubicBezTo>
                    <a:pt x="74" y="193"/>
                    <a:pt x="74" y="200"/>
                    <a:pt x="70" y="204"/>
                  </a:cubicBezTo>
                  <a:cubicBezTo>
                    <a:pt x="66" y="209"/>
                    <a:pt x="60" y="232"/>
                    <a:pt x="70" y="242"/>
                  </a:cubicBezTo>
                  <a:cubicBezTo>
                    <a:pt x="79" y="252"/>
                    <a:pt x="103" y="246"/>
                    <a:pt x="107" y="242"/>
                  </a:cubicBezTo>
                  <a:cubicBezTo>
                    <a:pt x="109" y="240"/>
                    <a:pt x="112" y="239"/>
                    <a:pt x="115" y="239"/>
                  </a:cubicBezTo>
                  <a:close/>
                  <a:moveTo>
                    <a:pt x="145" y="209"/>
                  </a:moveTo>
                  <a:cubicBezTo>
                    <a:pt x="133" y="209"/>
                    <a:pt x="121" y="205"/>
                    <a:pt x="112" y="196"/>
                  </a:cubicBezTo>
                  <a:cubicBezTo>
                    <a:pt x="95" y="178"/>
                    <a:pt x="95" y="149"/>
                    <a:pt x="112" y="131"/>
                  </a:cubicBezTo>
                  <a:cubicBezTo>
                    <a:pt x="121" y="122"/>
                    <a:pt x="133" y="117"/>
                    <a:pt x="145" y="117"/>
                  </a:cubicBezTo>
                  <a:cubicBezTo>
                    <a:pt x="157" y="117"/>
                    <a:pt x="169" y="122"/>
                    <a:pt x="177" y="131"/>
                  </a:cubicBezTo>
                  <a:cubicBezTo>
                    <a:pt x="195" y="149"/>
                    <a:pt x="195" y="178"/>
                    <a:pt x="177" y="196"/>
                  </a:cubicBezTo>
                  <a:cubicBezTo>
                    <a:pt x="177" y="196"/>
                    <a:pt x="177" y="196"/>
                    <a:pt x="177" y="196"/>
                  </a:cubicBezTo>
                  <a:cubicBezTo>
                    <a:pt x="168" y="205"/>
                    <a:pt x="157" y="209"/>
                    <a:pt x="145" y="209"/>
                  </a:cubicBezTo>
                  <a:close/>
                  <a:moveTo>
                    <a:pt x="145" y="139"/>
                  </a:moveTo>
                  <a:cubicBezTo>
                    <a:pt x="138" y="139"/>
                    <a:pt x="132" y="141"/>
                    <a:pt x="128" y="146"/>
                  </a:cubicBezTo>
                  <a:cubicBezTo>
                    <a:pt x="118" y="156"/>
                    <a:pt x="118" y="171"/>
                    <a:pt x="128" y="181"/>
                  </a:cubicBezTo>
                  <a:cubicBezTo>
                    <a:pt x="137" y="190"/>
                    <a:pt x="153" y="190"/>
                    <a:pt x="162" y="181"/>
                  </a:cubicBezTo>
                  <a:cubicBezTo>
                    <a:pt x="162" y="181"/>
                    <a:pt x="162" y="181"/>
                    <a:pt x="162" y="181"/>
                  </a:cubicBezTo>
                  <a:cubicBezTo>
                    <a:pt x="172" y="171"/>
                    <a:pt x="172" y="156"/>
                    <a:pt x="162" y="146"/>
                  </a:cubicBezTo>
                  <a:cubicBezTo>
                    <a:pt x="158" y="141"/>
                    <a:pt x="151" y="139"/>
                    <a:pt x="145" y="139"/>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defRPr/>
              </a:pPr>
              <a:endParaRPr lang="en-GB" sz="2800" b="0" kern="0" dirty="0">
                <a:solidFill>
                  <a:prstClr val="black"/>
                </a:solidFill>
                <a:latin typeface="Verdana"/>
                <a:cs typeface="+mn-cs"/>
              </a:endParaRPr>
            </a:p>
          </p:txBody>
        </p:sp>
        <p:grpSp>
          <p:nvGrpSpPr>
            <p:cNvPr id="61" name="Group 432"/>
            <p:cNvGrpSpPr>
              <a:grpSpLocks noChangeAspect="1"/>
            </p:cNvGrpSpPr>
            <p:nvPr/>
          </p:nvGrpSpPr>
          <p:grpSpPr bwMode="auto">
            <a:xfrm>
              <a:off x="5024383" y="4155097"/>
              <a:ext cx="414085" cy="414085"/>
              <a:chOff x="3505" y="1546"/>
              <a:chExt cx="340" cy="341"/>
            </a:xfrm>
            <a:solidFill>
              <a:srgbClr val="046A38"/>
            </a:solidFill>
          </p:grpSpPr>
          <p:sp>
            <p:nvSpPr>
              <p:cNvPr id="76"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pPr>
                <a:endParaRPr lang="en-GB" sz="2800" b="0" dirty="0">
                  <a:solidFill>
                    <a:prstClr val="black"/>
                  </a:solidFill>
                  <a:latin typeface="Verdana"/>
                  <a:cs typeface="+mn-cs"/>
                </a:endParaRPr>
              </a:p>
            </p:txBody>
          </p:sp>
          <p:sp>
            <p:nvSpPr>
              <p:cNvPr id="77"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pPr>
                <a:endParaRPr lang="en-GB" sz="2800" b="0" dirty="0">
                  <a:solidFill>
                    <a:prstClr val="black"/>
                  </a:solidFill>
                  <a:latin typeface="Verdana"/>
                  <a:cs typeface="+mn-cs"/>
                </a:endParaRPr>
              </a:p>
            </p:txBody>
          </p:sp>
        </p:grpSp>
        <p:sp>
          <p:nvSpPr>
            <p:cNvPr id="62" name="Text Placeholder 3"/>
            <p:cNvSpPr txBox="1">
              <a:spLocks/>
            </p:cNvSpPr>
            <p:nvPr/>
          </p:nvSpPr>
          <p:spPr>
            <a:xfrm>
              <a:off x="4907803" y="4132972"/>
              <a:ext cx="4418001" cy="414085"/>
            </a:xfrm>
            <a:prstGeom prst="rect">
              <a:avLst/>
            </a:prstGeom>
          </p:spPr>
          <p:txBody>
            <a:bodyPr vert="horz" lIns="0" tIns="0" rIns="0" bIns="0" rtlCol="0" anchor="ctr">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83142" fontAlgn="auto">
                <a:spcBef>
                  <a:spcPts val="4658"/>
                </a:spcBef>
                <a:spcAft>
                  <a:spcPts val="0"/>
                </a:spcAft>
              </a:pPr>
              <a:r>
                <a:rPr lang="en-US" dirty="0">
                  <a:solidFill>
                    <a:prstClr val="white"/>
                  </a:solidFill>
                  <a:latin typeface="Verdana"/>
                  <a:ea typeface="Verdana" panose="020B0604030504040204" pitchFamily="34" charset="0"/>
                  <a:cs typeface="Verdana" panose="020B0604030504040204" pitchFamily="34" charset="0"/>
                </a:rPr>
                <a:t>Reviews of strategic planning and risk management will increase.</a:t>
              </a:r>
            </a:p>
          </p:txBody>
        </p:sp>
        <p:sp>
          <p:nvSpPr>
            <p:cNvPr id="68" name="Text Placeholder 3"/>
            <p:cNvSpPr txBox="1">
              <a:spLocks/>
            </p:cNvSpPr>
            <p:nvPr/>
          </p:nvSpPr>
          <p:spPr>
            <a:xfrm>
              <a:off x="4952006" y="5069469"/>
              <a:ext cx="3603764" cy="562644"/>
            </a:xfrm>
            <a:prstGeom prst="rect">
              <a:avLst/>
            </a:prstGeom>
          </p:spPr>
          <p:txBody>
            <a:bodyPr vert="horz" lIns="0" tIns="0" rIns="0" bIns="0" rtlCol="0" anchor="ctr">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83142" fontAlgn="auto">
                <a:spcBef>
                  <a:spcPts val="4658"/>
                </a:spcBef>
                <a:spcAft>
                  <a:spcPts val="0"/>
                </a:spcAft>
              </a:pPr>
              <a:r>
                <a:rPr lang="en-US" dirty="0">
                  <a:solidFill>
                    <a:prstClr val="white"/>
                  </a:solidFill>
                  <a:latin typeface="Verdana"/>
                  <a:ea typeface="Verdana" panose="020B0604030504040204" pitchFamily="34" charset="0"/>
                  <a:cs typeface="Verdana" panose="020B0604030504040204" pitchFamily="34" charset="0"/>
                </a:rPr>
                <a:t>Stable Internal Audit budgets may present </a:t>
              </a:r>
              <a:r>
                <a:rPr lang="en-US" dirty="0" smtClean="0">
                  <a:solidFill>
                    <a:prstClr val="white"/>
                  </a:solidFill>
                  <a:latin typeface="Verdana"/>
                  <a:ea typeface="Verdana" panose="020B0604030504040204" pitchFamily="34" charset="0"/>
                  <a:cs typeface="Verdana" panose="020B0604030504040204" pitchFamily="34" charset="0"/>
                </a:rPr>
                <a:t>challenges</a:t>
              </a:r>
              <a:endParaRPr lang="en-US" dirty="0">
                <a:solidFill>
                  <a:prstClr val="white"/>
                </a:solidFill>
                <a:latin typeface="Verdana"/>
                <a:ea typeface="Verdana" panose="020B0604030504040204" pitchFamily="34" charset="0"/>
                <a:cs typeface="Verdana" panose="020B0604030504040204" pitchFamily="34" charset="0"/>
              </a:endParaRPr>
            </a:p>
          </p:txBody>
        </p:sp>
        <p:grpSp>
          <p:nvGrpSpPr>
            <p:cNvPr id="69" name="Group 345"/>
            <p:cNvGrpSpPr>
              <a:grpSpLocks noChangeAspect="1"/>
            </p:cNvGrpSpPr>
            <p:nvPr/>
          </p:nvGrpSpPr>
          <p:grpSpPr bwMode="auto">
            <a:xfrm>
              <a:off x="5051462" y="5146890"/>
              <a:ext cx="414085" cy="414085"/>
              <a:chOff x="3451" y="1171"/>
              <a:chExt cx="340" cy="340"/>
            </a:xfrm>
            <a:solidFill>
              <a:srgbClr val="61CB00"/>
            </a:solidFill>
          </p:grpSpPr>
          <p:sp>
            <p:nvSpPr>
              <p:cNvPr id="74" name="Freeform 346"/>
              <p:cNvSpPr>
                <a:spLocks noEditPoints="1"/>
              </p:cNvSpPr>
              <p:nvPr/>
            </p:nvSpPr>
            <p:spPr bwMode="auto">
              <a:xfrm>
                <a:off x="3515" y="1231"/>
                <a:ext cx="212" cy="19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pPr>
                <a:endParaRPr lang="en-GB" sz="4800" b="0" dirty="0">
                  <a:solidFill>
                    <a:prstClr val="white"/>
                  </a:solidFill>
                  <a:latin typeface="Verdana"/>
                  <a:cs typeface="+mn-cs"/>
                </a:endParaRPr>
              </a:p>
            </p:txBody>
          </p:sp>
          <p:sp>
            <p:nvSpPr>
              <p:cNvPr id="75" name="Freeform 347"/>
              <p:cNvSpPr>
                <a:spLocks noEditPoints="1"/>
              </p:cNvSpPr>
              <p:nvPr/>
            </p:nvSpPr>
            <p:spPr bwMode="auto">
              <a:xfrm>
                <a:off x="3451" y="117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pPr>
                <a:endParaRPr lang="en-GB" sz="4800" b="0" dirty="0">
                  <a:solidFill>
                    <a:prstClr val="white"/>
                  </a:solidFill>
                  <a:latin typeface="Verdana"/>
                  <a:cs typeface="+mn-cs"/>
                </a:endParaRPr>
              </a:p>
            </p:txBody>
          </p:sp>
        </p:grpSp>
        <p:sp>
          <p:nvSpPr>
            <p:cNvPr id="70" name="Text Placeholder 3"/>
            <p:cNvSpPr txBox="1">
              <a:spLocks/>
            </p:cNvSpPr>
            <p:nvPr/>
          </p:nvSpPr>
          <p:spPr>
            <a:xfrm>
              <a:off x="4951796" y="6071244"/>
              <a:ext cx="4181491" cy="414085"/>
            </a:xfrm>
            <a:prstGeom prst="rect">
              <a:avLst/>
            </a:prstGeom>
          </p:spPr>
          <p:txBody>
            <a:bodyPr vert="horz" lIns="0" tIns="0" rIns="0" bIns="0" rtlCol="0" anchor="ctr">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83142" fontAlgn="auto">
                <a:spcBef>
                  <a:spcPts val="4658"/>
                </a:spcBef>
                <a:spcAft>
                  <a:spcPts val="0"/>
                </a:spcAft>
              </a:pPr>
              <a:r>
                <a:rPr lang="en-US" sz="2400" dirty="0" smtClean="0">
                  <a:solidFill>
                    <a:prstClr val="white"/>
                  </a:solidFill>
                  <a:latin typeface="Verdana"/>
                  <a:ea typeface="Verdana" panose="020B0604030504040204" pitchFamily="34" charset="0"/>
                  <a:cs typeface="Verdana" panose="020B0604030504040204" pitchFamily="34" charset="0"/>
                </a:rPr>
                <a:t>Embracing Cyber Security Internal Audit to address increasing cyber risks </a:t>
              </a:r>
              <a:endParaRPr lang="en-US" sz="2400" dirty="0">
                <a:solidFill>
                  <a:prstClr val="white"/>
                </a:solidFill>
                <a:latin typeface="Verdana"/>
                <a:ea typeface="Verdana" panose="020B0604030504040204" pitchFamily="34" charset="0"/>
                <a:cs typeface="Verdana" panose="020B0604030504040204" pitchFamily="34" charset="0"/>
              </a:endParaRPr>
            </a:p>
          </p:txBody>
        </p:sp>
        <p:grpSp>
          <p:nvGrpSpPr>
            <p:cNvPr id="71" name="Group 423"/>
            <p:cNvGrpSpPr>
              <a:grpSpLocks noChangeAspect="1"/>
            </p:cNvGrpSpPr>
            <p:nvPr/>
          </p:nvGrpSpPr>
          <p:grpSpPr bwMode="auto">
            <a:xfrm>
              <a:off x="5052451" y="6141502"/>
              <a:ext cx="414085" cy="414085"/>
              <a:chOff x="4285" y="1550"/>
              <a:chExt cx="340" cy="340"/>
            </a:xfrm>
            <a:solidFill>
              <a:srgbClr val="86BC25"/>
            </a:solidFill>
          </p:grpSpPr>
          <p:sp>
            <p:nvSpPr>
              <p:cNvPr id="72" name="Freeform 424"/>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defRPr/>
                </a:pPr>
                <a:endParaRPr lang="en-GB" sz="2800" b="0" kern="0" dirty="0">
                  <a:solidFill>
                    <a:prstClr val="black"/>
                  </a:solidFill>
                  <a:latin typeface="Verdana"/>
                  <a:cs typeface="+mn-cs"/>
                </a:endParaRPr>
              </a:p>
            </p:txBody>
          </p:sp>
          <p:sp>
            <p:nvSpPr>
              <p:cNvPr id="73" name="Freeform 425"/>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8310" tIns="59155" rIns="118310" bIns="59155" numCol="1" anchor="t" anchorCtr="0" compatLnSpc="1">
                <a:prstTxWarp prst="textNoShape">
                  <a:avLst/>
                </a:prstTxWarp>
              </a:bodyPr>
              <a:lstStyle/>
              <a:p>
                <a:pPr algn="l" defTabSz="787481" fontAlgn="auto">
                  <a:spcBef>
                    <a:spcPts val="0"/>
                  </a:spcBef>
                  <a:spcAft>
                    <a:spcPts val="0"/>
                  </a:spcAft>
                  <a:defRPr/>
                </a:pPr>
                <a:endParaRPr lang="en-GB" sz="2800" b="0" kern="0" dirty="0">
                  <a:solidFill>
                    <a:prstClr val="black"/>
                  </a:solidFill>
                  <a:latin typeface="Verdana"/>
                  <a:cs typeface="+mn-cs"/>
                </a:endParaRPr>
              </a:p>
            </p:txBody>
          </p:sp>
        </p:grpSp>
      </p:grpSp>
    </p:spTree>
    <p:extLst>
      <p:ext uri="{BB962C8B-B14F-4D97-AF65-F5344CB8AC3E}">
        <p14:creationId xmlns:p14="http://schemas.microsoft.com/office/powerpoint/2010/main" val="18030308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TextBox 1"/>
          <p:cNvSpPr txBox="1"/>
          <p:nvPr/>
        </p:nvSpPr>
        <p:spPr>
          <a:xfrm>
            <a:off x="3454400" y="3124254"/>
            <a:ext cx="4934857" cy="830997"/>
          </a:xfrm>
          <a:prstGeom prst="rect">
            <a:avLst/>
          </a:prstGeom>
          <a:noFill/>
        </p:spPr>
        <p:txBody>
          <a:bodyPr wrap="square" rtlCol="0">
            <a:spAutoFit/>
          </a:bodyPr>
          <a:lstStyle/>
          <a:p>
            <a:pPr>
              <a:spcBef>
                <a:spcPts val="600"/>
              </a:spcBef>
            </a:pPr>
            <a:r>
              <a:rPr lang="en-US" sz="48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Thank You</a:t>
            </a:r>
          </a:p>
        </p:txBody>
      </p:sp>
      <p:sp>
        <p:nvSpPr>
          <p:cNvPr id="4" name="Text Box 15"/>
          <p:cNvSpPr txBox="1">
            <a:spLocks noChangeArrowheads="1"/>
          </p:cNvSpPr>
          <p:nvPr/>
        </p:nvSpPr>
        <p:spPr bwMode="auto">
          <a:xfrm>
            <a:off x="239194" y="6817224"/>
            <a:ext cx="12397306" cy="718584"/>
          </a:xfrm>
          <a:prstGeom prst="rect">
            <a:avLst/>
          </a:prstGeom>
          <a:solidFill>
            <a:sysClr val="windowText" lastClr="000000"/>
          </a:solidFill>
          <a:ln>
            <a:noFill/>
          </a:ln>
          <a:extLst/>
        </p:spPr>
        <p:txBody>
          <a:bodyPr wrap="square" lIns="102036" tIns="51017" rIns="102036" bIns="51017">
            <a:spAutoFit/>
          </a:bodyPr>
          <a:lstStyle>
            <a:lvl1pPr defTabSz="1016000" eaLnBrk="0" hangingPunct="0">
              <a:defRPr sz="2000">
                <a:solidFill>
                  <a:schemeClr val="tx1"/>
                </a:solidFill>
                <a:latin typeface="Arial" charset="0"/>
                <a:cs typeface="Arial" charset="0"/>
              </a:defRPr>
            </a:lvl1pPr>
            <a:lvl2pPr marL="742950" indent="-285750" defTabSz="1016000" eaLnBrk="0" hangingPunct="0">
              <a:defRPr sz="2000">
                <a:solidFill>
                  <a:schemeClr val="tx1"/>
                </a:solidFill>
                <a:latin typeface="Arial" charset="0"/>
                <a:cs typeface="Arial" charset="0"/>
              </a:defRPr>
            </a:lvl2pPr>
            <a:lvl3pPr marL="1143000" indent="-228600" defTabSz="1016000" eaLnBrk="0" hangingPunct="0">
              <a:defRPr sz="2000">
                <a:solidFill>
                  <a:schemeClr val="tx1"/>
                </a:solidFill>
                <a:latin typeface="Arial" charset="0"/>
                <a:cs typeface="Arial" charset="0"/>
              </a:defRPr>
            </a:lvl3pPr>
            <a:lvl4pPr marL="1600200" indent="-228600" defTabSz="1016000" eaLnBrk="0" hangingPunct="0">
              <a:defRPr sz="2000">
                <a:solidFill>
                  <a:schemeClr val="tx1"/>
                </a:solidFill>
                <a:latin typeface="Arial" charset="0"/>
                <a:cs typeface="Arial" charset="0"/>
              </a:defRPr>
            </a:lvl4pPr>
            <a:lvl5pPr marL="2057400" indent="-228600" defTabSz="1016000" eaLnBrk="0" hangingPunct="0">
              <a:defRPr sz="2000">
                <a:solidFill>
                  <a:schemeClr val="tx1"/>
                </a:solidFill>
                <a:latin typeface="Arial" charset="0"/>
                <a:cs typeface="Arial" charset="0"/>
              </a:defRPr>
            </a:lvl5pPr>
            <a:lvl6pPr marL="2514600" indent="-228600" defTabSz="1016000" eaLnBrk="0" fontAlgn="base" hangingPunct="0">
              <a:spcBef>
                <a:spcPct val="0"/>
              </a:spcBef>
              <a:spcAft>
                <a:spcPct val="0"/>
              </a:spcAft>
              <a:defRPr sz="2000">
                <a:solidFill>
                  <a:schemeClr val="tx1"/>
                </a:solidFill>
                <a:latin typeface="Arial" charset="0"/>
                <a:cs typeface="Arial" charset="0"/>
              </a:defRPr>
            </a:lvl6pPr>
            <a:lvl7pPr marL="2971800" indent="-228600" defTabSz="1016000" eaLnBrk="0" fontAlgn="base" hangingPunct="0">
              <a:spcBef>
                <a:spcPct val="0"/>
              </a:spcBef>
              <a:spcAft>
                <a:spcPct val="0"/>
              </a:spcAft>
              <a:defRPr sz="2000">
                <a:solidFill>
                  <a:schemeClr val="tx1"/>
                </a:solidFill>
                <a:latin typeface="Arial" charset="0"/>
                <a:cs typeface="Arial" charset="0"/>
              </a:defRPr>
            </a:lvl7pPr>
            <a:lvl8pPr marL="3429000" indent="-228600" defTabSz="1016000" eaLnBrk="0" fontAlgn="base" hangingPunct="0">
              <a:spcBef>
                <a:spcPct val="0"/>
              </a:spcBef>
              <a:spcAft>
                <a:spcPct val="0"/>
              </a:spcAft>
              <a:defRPr sz="2000">
                <a:solidFill>
                  <a:schemeClr val="tx1"/>
                </a:solidFill>
                <a:latin typeface="Arial" charset="0"/>
                <a:cs typeface="Arial" charset="0"/>
              </a:defRPr>
            </a:lvl8pPr>
            <a:lvl9pPr marL="3886200" indent="-228600" defTabSz="1016000" eaLnBrk="0" fontAlgn="base" hangingPunct="0">
              <a:spcBef>
                <a:spcPct val="0"/>
              </a:spcBef>
              <a:spcAft>
                <a:spcPct val="0"/>
              </a:spcAft>
              <a:defRPr sz="2000">
                <a:solidFill>
                  <a:schemeClr val="tx1"/>
                </a:solidFill>
                <a:latin typeface="Arial" charset="0"/>
                <a:cs typeface="Arial" charset="0"/>
              </a:defRPr>
            </a:lvl9pPr>
          </a:lstStyle>
          <a:p>
            <a:pPr marL="0" marR="0" lvl="0" indent="0" algn="l" defTabSz="908322" eaLnBrk="0"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Verdana"/>
                <a:cs typeface="Arial" charset="0"/>
              </a:rPr>
              <a:t>The views and opinions expressed in this presentation are those of the author and do not in any way represent the views of the author’s employer. You should not act upon the information contained in this publication without obtaining specific professional advice. No representation or warranty (express or implied) is given as to the accuracy or completeness of the information contained in this publication. The author does not accept or assume any liability, responsibility or duty of care for any consequences of you or anyone else acting, or refraining to act, in reliance on the information contained in this publication or for any decision based on it.</a:t>
            </a:r>
          </a:p>
        </p:txBody>
      </p:sp>
    </p:spTree>
    <p:extLst>
      <p:ext uri="{BB962C8B-B14F-4D97-AF65-F5344CB8AC3E}">
        <p14:creationId xmlns:p14="http://schemas.microsoft.com/office/powerpoint/2010/main" val="5618537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F6gZUHI7U.w1ICioesD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tt4qghrOkWWm.Js.7P3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Rj__2KkREGFQTQb6CbJ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heme/theme1.xml><?xml version="1.0" encoding="utf-8"?>
<a:theme xmlns:a="http://schemas.openxmlformats.org/drawingml/2006/main" name="1_Deloitte Screen (small)">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1"/>
          </a:solidFill>
        </a:ln>
      </a:spPr>
      <a:bodyPr lIns="45720" tIns="45720" rIns="45720" rtlCol="0" anchor="ctr"/>
      <a:lstStyle>
        <a:defPPr algn="ctr">
          <a:defRPr sz="1800" b="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Bef>
            <a:spcPts val="600"/>
          </a:spcBef>
          <a:defRPr sz="1800" dirty="0" err="1" smtClean="0"/>
        </a:defPPr>
      </a:lstStyle>
    </a:txDef>
  </a:objectDefaults>
  <a:extraClrSchemeLst/>
</a:theme>
</file>

<file path=ppt/theme/theme10.xml><?xml version="1.0" encoding="utf-8"?>
<a:theme xmlns:a="http://schemas.openxmlformats.org/drawingml/2006/main" name="CBT_industry_template">
  <a:themeElements>
    <a:clrScheme name="Deloitte palette MS Word">
      <a:dk1>
        <a:srgbClr val="000000"/>
      </a:dk1>
      <a:lt1>
        <a:srgbClr val="FFFFFF"/>
      </a:lt1>
      <a:dk2>
        <a:srgbClr val="002776"/>
      </a:dk2>
      <a:lt2>
        <a:srgbClr val="FFFFFF"/>
      </a:lt2>
      <a:accent1>
        <a:srgbClr val="001D59"/>
      </a:accent1>
      <a:accent2>
        <a:srgbClr val="92D400"/>
      </a:accent2>
      <a:accent3>
        <a:srgbClr val="00A1DE"/>
      </a:accent3>
      <a:accent4>
        <a:srgbClr val="72C7E7"/>
      </a:accent4>
      <a:accent5>
        <a:srgbClr val="3C8A2E"/>
      </a:accent5>
      <a:accent6>
        <a:srgbClr val="C9DD03"/>
      </a:accent6>
      <a:hlink>
        <a:srgbClr val="00A1DE"/>
      </a:hlink>
      <a:folHlink>
        <a:srgbClr val="72C7E7"/>
      </a:folHlink>
    </a:clrScheme>
    <a:fontScheme name="Deloit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Deloitte Screen (small)">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1"/>
          </a:solidFill>
        </a:ln>
      </a:spPr>
      <a:bodyPr lIns="45720" tIns="45720" rIns="45720" rtlCol="0" anchor="ctr"/>
      <a:lstStyle>
        <a:defPPr algn="ctr">
          <a:defRPr sz="1800" b="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Bef>
            <a:spcPts val="600"/>
          </a:spcBef>
          <a:defRPr sz="1800" dirty="0" err="1" smtClean="0"/>
        </a:defPPr>
      </a:lstStyle>
    </a:txDef>
  </a:objectDefaults>
  <a:extraClrSchemeLst/>
</a:theme>
</file>

<file path=ppt/theme/theme3.xml><?xml version="1.0" encoding="utf-8"?>
<a:theme xmlns:a="http://schemas.openxmlformats.org/drawingml/2006/main" name="18_Blank">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Deloitte Screen (small)">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1"/>
          </a:solidFill>
        </a:ln>
      </a:spPr>
      <a:bodyPr lIns="45720" tIns="45720" rIns="45720" rtlCol="0" anchor="ctr"/>
      <a:lstStyle>
        <a:defPPr algn="ctr">
          <a:defRPr sz="1800" b="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Bef>
            <a:spcPts val="600"/>
          </a:spcBef>
          <a:defRPr sz="1800" dirty="0" err="1" smtClean="0"/>
        </a:defPPr>
      </a:lstStyle>
    </a:txDef>
  </a:objectDefaults>
  <a:extraClrSchemeLst/>
</a:theme>
</file>

<file path=ppt/theme/theme5.xml><?xml version="1.0" encoding="utf-8"?>
<a:theme xmlns:a="http://schemas.openxmlformats.org/drawingml/2006/main" name="2_CBT_industry_template">
  <a:themeElements>
    <a:clrScheme name="Deloitte palette MS Word">
      <a:dk1>
        <a:srgbClr val="000000"/>
      </a:dk1>
      <a:lt1>
        <a:srgbClr val="FFFFFF"/>
      </a:lt1>
      <a:dk2>
        <a:srgbClr val="002776"/>
      </a:dk2>
      <a:lt2>
        <a:srgbClr val="FFFFFF"/>
      </a:lt2>
      <a:accent1>
        <a:srgbClr val="001D59"/>
      </a:accent1>
      <a:accent2>
        <a:srgbClr val="92D400"/>
      </a:accent2>
      <a:accent3>
        <a:srgbClr val="00A1DE"/>
      </a:accent3>
      <a:accent4>
        <a:srgbClr val="72C7E7"/>
      </a:accent4>
      <a:accent5>
        <a:srgbClr val="3C8A2E"/>
      </a:accent5>
      <a:accent6>
        <a:srgbClr val="C9DD03"/>
      </a:accent6>
      <a:hlink>
        <a:srgbClr val="00A1DE"/>
      </a:hlink>
      <a:folHlink>
        <a:srgbClr val="72C7E7"/>
      </a:folHlink>
    </a:clrScheme>
    <a:fontScheme name="Deloit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CBT_industry_template">
  <a:themeElements>
    <a:clrScheme name="Deloitte palette MS Word">
      <a:dk1>
        <a:srgbClr val="000000"/>
      </a:dk1>
      <a:lt1>
        <a:srgbClr val="FFFFFF"/>
      </a:lt1>
      <a:dk2>
        <a:srgbClr val="002776"/>
      </a:dk2>
      <a:lt2>
        <a:srgbClr val="FFFFFF"/>
      </a:lt2>
      <a:accent1>
        <a:srgbClr val="001D59"/>
      </a:accent1>
      <a:accent2>
        <a:srgbClr val="92D400"/>
      </a:accent2>
      <a:accent3>
        <a:srgbClr val="00A1DE"/>
      </a:accent3>
      <a:accent4>
        <a:srgbClr val="72C7E7"/>
      </a:accent4>
      <a:accent5>
        <a:srgbClr val="3C8A2E"/>
      </a:accent5>
      <a:accent6>
        <a:srgbClr val="C9DD03"/>
      </a:accent6>
      <a:hlink>
        <a:srgbClr val="00A1DE"/>
      </a:hlink>
      <a:folHlink>
        <a:srgbClr val="72C7E7"/>
      </a:folHlink>
    </a:clrScheme>
    <a:fontScheme name="Deloit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CBT_industry_template">
  <a:themeElements>
    <a:clrScheme name="Deloitte palette MS Word">
      <a:dk1>
        <a:srgbClr val="000000"/>
      </a:dk1>
      <a:lt1>
        <a:srgbClr val="FFFFFF"/>
      </a:lt1>
      <a:dk2>
        <a:srgbClr val="002776"/>
      </a:dk2>
      <a:lt2>
        <a:srgbClr val="FFFFFF"/>
      </a:lt2>
      <a:accent1>
        <a:srgbClr val="001D59"/>
      </a:accent1>
      <a:accent2>
        <a:srgbClr val="92D400"/>
      </a:accent2>
      <a:accent3>
        <a:srgbClr val="00A1DE"/>
      </a:accent3>
      <a:accent4>
        <a:srgbClr val="72C7E7"/>
      </a:accent4>
      <a:accent5>
        <a:srgbClr val="3C8A2E"/>
      </a:accent5>
      <a:accent6>
        <a:srgbClr val="C9DD03"/>
      </a:accent6>
      <a:hlink>
        <a:srgbClr val="00A1DE"/>
      </a:hlink>
      <a:folHlink>
        <a:srgbClr val="72C7E7"/>
      </a:folHlink>
    </a:clrScheme>
    <a:fontScheme name="Deloit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Deloitte_Screen_small_031813_US">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1"/>
          </a:solidFill>
        </a:ln>
      </a:spPr>
      <a:bodyPr lIns="45720" tIns="45720" rIns="45720" rtlCol="0" anchor="ctr"/>
      <a:lstStyle>
        <a:defPPr algn="ctr">
          <a:defRPr sz="1800" b="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Bef>
            <a:spcPts val="600"/>
          </a:spcBef>
          <a:defRPr sz="1800" dirty="0" err="1" smtClean="0"/>
        </a:defPPr>
      </a:lstStyle>
    </a:txDef>
  </a:objectDefaults>
  <a:extraClrSchemeLst/>
</a:theme>
</file>

<file path=ppt/theme/theme9.xml><?xml version="1.0" encoding="utf-8"?>
<a:theme xmlns:a="http://schemas.openxmlformats.org/drawingml/2006/main" name="1_Deloittes_Report">
  <a:themeElements>
    <a:clrScheme name="Deloitte2">
      <a:dk1>
        <a:sysClr val="windowText" lastClr="000000"/>
      </a:dk1>
      <a:lt1>
        <a:srgbClr val="FFFFFF"/>
      </a:lt1>
      <a:dk2>
        <a:srgbClr val="1F497D"/>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Deloittes_Repor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AU"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AU" sz="1600" b="0" i="0" u="none" strike="noStrike" cap="none" normalizeH="0" baseline="0" smtClean="0">
            <a:ln>
              <a:noFill/>
            </a:ln>
            <a:solidFill>
              <a:schemeClr val="tx1"/>
            </a:solidFill>
            <a:effectLst/>
            <a:latin typeface="Arial" charset="0"/>
          </a:defRPr>
        </a:defPPr>
      </a:lstStyle>
    </a:lnDef>
  </a:objectDefaults>
  <a:extraClrSchemeLst/>
</a:theme>
</file>

<file path=docProps/app.xml><?xml version="1.0" encoding="utf-8"?>
<Properties xmlns="http://schemas.openxmlformats.org/officeDocument/2006/extended-properties" xmlns:vt="http://schemas.openxmlformats.org/officeDocument/2006/docPropsVTypes">
  <Template>Deloitte Screen (small)</Template>
  <TotalTime>40999</TotalTime>
  <Words>1226</Words>
  <Application>Microsoft Office PowerPoint</Application>
  <PresentationFormat>Custom</PresentationFormat>
  <Paragraphs>120</Paragraphs>
  <Slides>8</Slides>
  <Notes>7</Notes>
  <HiddenSlides>0</HiddenSlides>
  <MMClips>0</MMClips>
  <ScaleCrop>false</ScaleCrop>
  <HeadingPairs>
    <vt:vector size="6" baseType="variant">
      <vt:variant>
        <vt:lpstr>Theme</vt:lpstr>
      </vt:variant>
      <vt:variant>
        <vt:i4>10</vt:i4>
      </vt:variant>
      <vt:variant>
        <vt:lpstr>Embedded OLE Servers</vt:lpstr>
      </vt:variant>
      <vt:variant>
        <vt:i4>1</vt:i4>
      </vt:variant>
      <vt:variant>
        <vt:lpstr>Slide Titles</vt:lpstr>
      </vt:variant>
      <vt:variant>
        <vt:i4>8</vt:i4>
      </vt:variant>
    </vt:vector>
  </HeadingPairs>
  <TitlesOfParts>
    <vt:vector size="19" baseType="lpstr">
      <vt:lpstr>1_Deloitte Screen (small)</vt:lpstr>
      <vt:lpstr>2_Deloitte Screen (small)</vt:lpstr>
      <vt:lpstr>18_Blank</vt:lpstr>
      <vt:lpstr>3_Deloitte Screen (small)</vt:lpstr>
      <vt:lpstr>2_CBT_industry_template</vt:lpstr>
      <vt:lpstr>3_CBT_industry_template</vt:lpstr>
      <vt:lpstr>1_CBT_industry_template</vt:lpstr>
      <vt:lpstr>Deloitte_Screen_small_031813_US</vt:lpstr>
      <vt:lpstr>1_Deloittes_Report</vt:lpstr>
      <vt:lpstr>CBT_industry_template</vt:lpstr>
      <vt:lpstr>think-cell Slide</vt:lpstr>
      <vt:lpstr>PowerPoint Presentation</vt:lpstr>
      <vt:lpstr>Cyber Security is a Rapidly Ascending Board Agenda Item </vt:lpstr>
      <vt:lpstr>Cyber Risks Top the List </vt:lpstr>
      <vt:lpstr>Risk Evaluation … The Buck Stops Here</vt:lpstr>
      <vt:lpstr>Are Our Internal Audit Teams Ready for The Future ?</vt:lpstr>
      <vt:lpstr>Transforming Cyber Defenses – CAE’s Role</vt:lpstr>
      <vt:lpstr>Evolution or Irrelevance? Audit Teams are at a Cross Road</vt:lpstr>
      <vt:lpstr>PowerPoint Presentation</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yond boundaries</dc:title>
  <dc:creator>TSA</dc:creator>
  <dc:description>US07 3May11</dc:description>
  <cp:lastModifiedBy>Patrick</cp:lastModifiedBy>
  <cp:revision>2326</cp:revision>
  <cp:lastPrinted>2015-03-19T17:09:27Z</cp:lastPrinted>
  <dcterms:created xsi:type="dcterms:W3CDTF">2012-05-31T03:26:02Z</dcterms:created>
  <dcterms:modified xsi:type="dcterms:W3CDTF">2018-09-20T11:08:28Z</dcterms:modified>
</cp:coreProperties>
</file>